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300" r:id="rId5"/>
    <p:sldId id="428" r:id="rId6"/>
    <p:sldId id="436" r:id="rId7"/>
    <p:sldId id="438" r:id="rId8"/>
    <p:sldId id="439" r:id="rId9"/>
    <p:sldId id="419" r:id="rId10"/>
    <p:sldId id="437" r:id="rId11"/>
    <p:sldId id="394" r:id="rId12"/>
    <p:sldId id="429" r:id="rId13"/>
    <p:sldId id="398" r:id="rId14"/>
    <p:sldId id="432" r:id="rId15"/>
  </p:sldIdLst>
  <p:sldSz cx="12192000" cy="6858000"/>
  <p:notesSz cx="9926638" cy="6797675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E"/>
    <a:srgbClr val="595959"/>
    <a:srgbClr val="D9D9D9"/>
    <a:srgbClr val="004389"/>
    <a:srgbClr val="FFFFFF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CD5D4A-1C4A-4BDF-9202-2F28E0AF1E7F}" v="3" dt="2023-10-10T10:23:20.3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00" autoAdjust="0"/>
    <p:restoredTop sz="77279" autoAdjust="0"/>
  </p:normalViewPr>
  <p:slideViewPr>
    <p:cSldViewPr snapToGrid="0">
      <p:cViewPr varScale="1">
        <p:scale>
          <a:sx n="97" d="100"/>
          <a:sy n="97" d="100"/>
        </p:scale>
        <p:origin x="1256" y="200"/>
      </p:cViewPr>
      <p:guideLst/>
    </p:cSldViewPr>
  </p:slideViewPr>
  <p:outlineViewPr>
    <p:cViewPr>
      <p:scale>
        <a:sx n="33" d="100"/>
        <a:sy n="33" d="100"/>
      </p:scale>
      <p:origin x="0" y="-63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nther Gust" userId="61ea5fcd-8539-40ec-bf43-ca4691e3185e" providerId="ADAL" clId="{6B647DDD-111E-40A6-9A34-576809AC1AFA}"/>
    <pc:docChg chg="undo redo custSel addSld delSld modSld sldOrd">
      <pc:chgData name="Gunther Gust" userId="61ea5fcd-8539-40ec-bf43-ca4691e3185e" providerId="ADAL" clId="{6B647DDD-111E-40A6-9A34-576809AC1AFA}" dt="2023-10-09T13:49:35.887" v="3251" actId="20577"/>
      <pc:docMkLst>
        <pc:docMk/>
      </pc:docMkLst>
      <pc:sldChg chg="modSp mod">
        <pc:chgData name="Gunther Gust" userId="61ea5fcd-8539-40ec-bf43-ca4691e3185e" providerId="ADAL" clId="{6B647DDD-111E-40A6-9A34-576809AC1AFA}" dt="2023-10-09T09:16:56.468" v="109" actId="20577"/>
        <pc:sldMkLst>
          <pc:docMk/>
          <pc:sldMk cId="2334880311" sldId="300"/>
        </pc:sldMkLst>
        <pc:spChg chg="mod">
          <ac:chgData name="Gunther Gust" userId="61ea5fcd-8539-40ec-bf43-ca4691e3185e" providerId="ADAL" clId="{6B647DDD-111E-40A6-9A34-576809AC1AFA}" dt="2023-10-09T09:16:20.903" v="94" actId="113"/>
          <ac:spMkLst>
            <pc:docMk/>
            <pc:sldMk cId="2334880311" sldId="300"/>
            <ac:spMk id="2" creationId="{699657CF-76FF-4FAB-A313-9709E2293488}"/>
          </ac:spMkLst>
        </pc:spChg>
        <pc:spChg chg="mod">
          <ac:chgData name="Gunther Gust" userId="61ea5fcd-8539-40ec-bf43-ca4691e3185e" providerId="ADAL" clId="{6B647DDD-111E-40A6-9A34-576809AC1AFA}" dt="2023-10-09T09:16:56.468" v="109" actId="20577"/>
          <ac:spMkLst>
            <pc:docMk/>
            <pc:sldMk cId="2334880311" sldId="300"/>
            <ac:spMk id="3" creationId="{3656F436-3893-4275-9D76-0895D7B9CD38}"/>
          </ac:spMkLst>
        </pc:spChg>
      </pc:sldChg>
      <pc:sldChg chg="modSp mod">
        <pc:chgData name="Gunther Gust" userId="61ea5fcd-8539-40ec-bf43-ca4691e3185e" providerId="ADAL" clId="{6B647DDD-111E-40A6-9A34-576809AC1AFA}" dt="2023-10-09T13:49:35.887" v="3251" actId="20577"/>
        <pc:sldMkLst>
          <pc:docMk/>
          <pc:sldMk cId="1677302498" sldId="390"/>
        </pc:sldMkLst>
        <pc:spChg chg="mod">
          <ac:chgData name="Gunther Gust" userId="61ea5fcd-8539-40ec-bf43-ca4691e3185e" providerId="ADAL" clId="{6B647DDD-111E-40A6-9A34-576809AC1AFA}" dt="2023-10-09T13:49:35.887" v="3251" actId="20577"/>
          <ac:spMkLst>
            <pc:docMk/>
            <pc:sldMk cId="1677302498" sldId="390"/>
            <ac:spMk id="5" creationId="{52767F61-9A36-DF46-65FD-155F9131D02F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080826815" sldId="391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416533982" sldId="392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1202221600" sldId="393"/>
        </pc:sldMkLst>
      </pc:sldChg>
      <pc:sldChg chg="addSp modSp mod ord">
        <pc:chgData name="Gunther Gust" userId="61ea5fcd-8539-40ec-bf43-ca4691e3185e" providerId="ADAL" clId="{6B647DDD-111E-40A6-9A34-576809AC1AFA}" dt="2023-10-09T11:09:40.615" v="1559" actId="20577"/>
        <pc:sldMkLst>
          <pc:docMk/>
          <pc:sldMk cId="2057544375" sldId="394"/>
        </pc:sldMkLst>
        <pc:spChg chg="mod">
          <ac:chgData name="Gunther Gust" userId="61ea5fcd-8539-40ec-bf43-ca4691e3185e" providerId="ADAL" clId="{6B647DDD-111E-40A6-9A34-576809AC1AFA}" dt="2023-10-09T11:09:40.615" v="1559" actId="20577"/>
          <ac:spMkLst>
            <pc:docMk/>
            <pc:sldMk cId="2057544375" sldId="394"/>
            <ac:spMk id="4" creationId="{D3987EF8-0A55-EFE0-82B4-264086534FFA}"/>
          </ac:spMkLst>
        </pc:spChg>
        <pc:picChg chg="add mod">
          <ac:chgData name="Gunther Gust" userId="61ea5fcd-8539-40ec-bf43-ca4691e3185e" providerId="ADAL" clId="{6B647DDD-111E-40A6-9A34-576809AC1AFA}" dt="2023-10-09T11:09:07.572" v="1491" actId="1076"/>
          <ac:picMkLst>
            <pc:docMk/>
            <pc:sldMk cId="2057544375" sldId="394"/>
            <ac:picMk id="5122" creationId="{EC90CC13-D00C-5663-A4AE-05A0BCA143D2}"/>
          </ac:picMkLst>
        </pc:picChg>
      </pc:sldChg>
      <pc:sldChg chg="modSp mod ord">
        <pc:chgData name="Gunther Gust" userId="61ea5fcd-8539-40ec-bf43-ca4691e3185e" providerId="ADAL" clId="{6B647DDD-111E-40A6-9A34-576809AC1AFA}" dt="2023-10-09T11:39:26.829" v="1647" actId="20577"/>
        <pc:sldMkLst>
          <pc:docMk/>
          <pc:sldMk cId="3579640487" sldId="395"/>
        </pc:sldMkLst>
        <pc:spChg chg="mod">
          <ac:chgData name="Gunther Gust" userId="61ea5fcd-8539-40ec-bf43-ca4691e3185e" providerId="ADAL" clId="{6B647DDD-111E-40A6-9A34-576809AC1AFA}" dt="2023-10-09T11:39:26.829" v="1647" actId="20577"/>
          <ac:spMkLst>
            <pc:docMk/>
            <pc:sldMk cId="3579640487" sldId="395"/>
            <ac:spMk id="2" creationId="{5AE3C35E-DF9E-4869-A99C-5EA6A8FEDC40}"/>
          </ac:spMkLst>
        </pc:spChg>
        <pc:spChg chg="mod">
          <ac:chgData name="Gunther Gust" userId="61ea5fcd-8539-40ec-bf43-ca4691e3185e" providerId="ADAL" clId="{6B647DDD-111E-40A6-9A34-576809AC1AFA}" dt="2023-10-09T11:00:25.417" v="1344" actId="27636"/>
          <ac:spMkLst>
            <pc:docMk/>
            <pc:sldMk cId="3579640487" sldId="395"/>
            <ac:spMk id="4" creationId="{D3987EF8-0A55-EFE0-82B4-264086534FFA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540069202" sldId="397"/>
        </pc:sldMkLst>
      </pc:sldChg>
      <pc:sldChg chg="ord">
        <pc:chgData name="Gunther Gust" userId="61ea5fcd-8539-40ec-bf43-ca4691e3185e" providerId="ADAL" clId="{6B647DDD-111E-40A6-9A34-576809AC1AFA}" dt="2023-10-09T11:42:50.273" v="1650"/>
        <pc:sldMkLst>
          <pc:docMk/>
          <pc:sldMk cId="2964621384" sldId="398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392458085" sldId="400"/>
        </pc:sldMkLst>
      </pc:sldChg>
      <pc:sldChg chg="del ord">
        <pc:chgData name="Gunther Gust" userId="61ea5fcd-8539-40ec-bf43-ca4691e3185e" providerId="ADAL" clId="{6B647DDD-111E-40A6-9A34-576809AC1AFA}" dt="2023-10-09T13:00:05.517" v="2693" actId="47"/>
        <pc:sldMkLst>
          <pc:docMk/>
          <pc:sldMk cId="1333917992" sldId="401"/>
        </pc:sldMkLst>
      </pc:sldChg>
      <pc:sldChg chg="addSp delSp modSp mod ord">
        <pc:chgData name="Gunther Gust" userId="61ea5fcd-8539-40ec-bf43-ca4691e3185e" providerId="ADAL" clId="{6B647DDD-111E-40A6-9A34-576809AC1AFA}" dt="2023-10-09T13:47:35.518" v="3194" actId="1076"/>
        <pc:sldMkLst>
          <pc:docMk/>
          <pc:sldMk cId="835479179" sldId="403"/>
        </pc:sldMkLst>
        <pc:spChg chg="mod">
          <ac:chgData name="Gunther Gust" userId="61ea5fcd-8539-40ec-bf43-ca4691e3185e" providerId="ADAL" clId="{6B647DDD-111E-40A6-9A34-576809AC1AFA}" dt="2023-10-09T13:47:31.637" v="3193" actId="20577"/>
          <ac:spMkLst>
            <pc:docMk/>
            <pc:sldMk cId="835479179" sldId="403"/>
            <ac:spMk id="2" creationId="{78ABD816-E595-7989-08F3-2754962B7232}"/>
          </ac:spMkLst>
        </pc:spChg>
        <pc:spChg chg="mod">
          <ac:chgData name="Gunther Gust" userId="61ea5fcd-8539-40ec-bf43-ca4691e3185e" providerId="ADAL" clId="{6B647DDD-111E-40A6-9A34-576809AC1AFA}" dt="2023-10-09T13:35:14.639" v="3080" actId="20577"/>
          <ac:spMkLst>
            <pc:docMk/>
            <pc:sldMk cId="835479179" sldId="403"/>
            <ac:spMk id="4" creationId="{9763EAC1-6CCC-F2BC-B73F-C58B17CEEC97}"/>
          </ac:spMkLst>
        </pc:spChg>
        <pc:picChg chg="del">
          <ac:chgData name="Gunther Gust" userId="61ea5fcd-8539-40ec-bf43-ca4691e3185e" providerId="ADAL" clId="{6B647DDD-111E-40A6-9A34-576809AC1AFA}" dt="2023-10-09T13:43:04.101" v="3085" actId="478"/>
          <ac:picMkLst>
            <pc:docMk/>
            <pc:sldMk cId="835479179" sldId="403"/>
            <ac:picMk id="8" creationId="{1783E13B-234B-2D9D-0E3D-DB3EE2C54F55}"/>
          </ac:picMkLst>
        </pc:picChg>
        <pc:picChg chg="del">
          <ac:chgData name="Gunther Gust" userId="61ea5fcd-8539-40ec-bf43-ca4691e3185e" providerId="ADAL" clId="{6B647DDD-111E-40A6-9A34-576809AC1AFA}" dt="2023-10-09T13:42:04.779" v="3082" actId="478"/>
          <ac:picMkLst>
            <pc:docMk/>
            <pc:sldMk cId="835479179" sldId="403"/>
            <ac:picMk id="10" creationId="{F3B6453C-C6B4-81BD-FCB4-904BAB1FC63D}"/>
          </ac:picMkLst>
        </pc:picChg>
        <pc:picChg chg="del">
          <ac:chgData name="Gunther Gust" userId="61ea5fcd-8539-40ec-bf43-ca4691e3185e" providerId="ADAL" clId="{6B647DDD-111E-40A6-9A34-576809AC1AFA}" dt="2023-10-09T13:42:05.286" v="3083" actId="478"/>
          <ac:picMkLst>
            <pc:docMk/>
            <pc:sldMk cId="835479179" sldId="403"/>
            <ac:picMk id="12" creationId="{A8ADFD37-8F0C-7F38-59EE-8126A1EA2648}"/>
          </ac:picMkLst>
        </pc:picChg>
        <pc:picChg chg="del">
          <ac:chgData name="Gunther Gust" userId="61ea5fcd-8539-40ec-bf43-ca4691e3185e" providerId="ADAL" clId="{6B647DDD-111E-40A6-9A34-576809AC1AFA}" dt="2023-10-09T13:42:05.840" v="3084" actId="478"/>
          <ac:picMkLst>
            <pc:docMk/>
            <pc:sldMk cId="835479179" sldId="403"/>
            <ac:picMk id="14" creationId="{08060C42-C853-A630-CEED-A6E2A651C03B}"/>
          </ac:picMkLst>
        </pc:picChg>
        <pc:picChg chg="add mod">
          <ac:chgData name="Gunther Gust" userId="61ea5fcd-8539-40ec-bf43-ca4691e3185e" providerId="ADAL" clId="{6B647DDD-111E-40A6-9A34-576809AC1AFA}" dt="2023-10-09T13:47:35.518" v="3194" actId="1076"/>
          <ac:picMkLst>
            <pc:docMk/>
            <pc:sldMk cId="835479179" sldId="403"/>
            <ac:picMk id="6146" creationId="{7E8212C5-FA6F-A0CA-E6B0-103F5394A339}"/>
          </ac:picMkLst>
        </pc:picChg>
      </pc:sldChg>
      <pc:sldChg chg="modSp mod ord">
        <pc:chgData name="Gunther Gust" userId="61ea5fcd-8539-40ec-bf43-ca4691e3185e" providerId="ADAL" clId="{6B647DDD-111E-40A6-9A34-576809AC1AFA}" dt="2023-10-09T13:34:51.453" v="3063" actId="20577"/>
        <pc:sldMkLst>
          <pc:docMk/>
          <pc:sldMk cId="794321176" sldId="404"/>
        </pc:sldMkLst>
        <pc:spChg chg="mod">
          <ac:chgData name="Gunther Gust" userId="61ea5fcd-8539-40ec-bf43-ca4691e3185e" providerId="ADAL" clId="{6B647DDD-111E-40A6-9A34-576809AC1AFA}" dt="2023-10-09T13:34:51.453" v="3063" actId="20577"/>
          <ac:spMkLst>
            <pc:docMk/>
            <pc:sldMk cId="794321176" sldId="404"/>
            <ac:spMk id="2" creationId="{06308C5A-78C4-F5BE-0EB9-0DCF964F9CC2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117679289" sldId="407"/>
        </pc:sldMkLst>
      </pc:sldChg>
      <pc:sldChg chg="modSp del mod ord">
        <pc:chgData name="Gunther Gust" userId="61ea5fcd-8539-40ec-bf43-ca4691e3185e" providerId="ADAL" clId="{6B647DDD-111E-40A6-9A34-576809AC1AFA}" dt="2023-10-09T11:08:26.917" v="1483" actId="47"/>
        <pc:sldMkLst>
          <pc:docMk/>
          <pc:sldMk cId="96044978" sldId="409"/>
        </pc:sldMkLst>
        <pc:spChg chg="mod">
          <ac:chgData name="Gunther Gust" userId="61ea5fcd-8539-40ec-bf43-ca4691e3185e" providerId="ADAL" clId="{6B647DDD-111E-40A6-9A34-576809AC1AFA}" dt="2023-10-09T11:01:55.974" v="1473" actId="242"/>
          <ac:spMkLst>
            <pc:docMk/>
            <pc:sldMk cId="96044978" sldId="409"/>
            <ac:spMk id="2" creationId="{EFC10273-73DA-44F0-3F94-ADFAA43782CD}"/>
          </ac:spMkLst>
        </pc:spChg>
        <pc:spChg chg="mod">
          <ac:chgData name="Gunther Gust" userId="61ea5fcd-8539-40ec-bf43-ca4691e3185e" providerId="ADAL" clId="{6B647DDD-111E-40A6-9A34-576809AC1AFA}" dt="2023-10-09T11:01:46.576" v="1472" actId="20577"/>
          <ac:spMkLst>
            <pc:docMk/>
            <pc:sldMk cId="96044978" sldId="409"/>
            <ac:spMk id="4" creationId="{21B6BB18-946F-78C9-9E95-B554BECE3C56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2550429451" sldId="410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990876319" sldId="417"/>
        </pc:sldMkLst>
      </pc:sldChg>
      <pc:sldChg chg="del">
        <pc:chgData name="Gunther Gust" userId="61ea5fcd-8539-40ec-bf43-ca4691e3185e" providerId="ADAL" clId="{6B647DDD-111E-40A6-9A34-576809AC1AFA}" dt="2023-10-09T13:00:09.201" v="2694" actId="47"/>
        <pc:sldMkLst>
          <pc:docMk/>
          <pc:sldMk cId="996981607" sldId="418"/>
        </pc:sldMkLst>
      </pc:sldChg>
      <pc:sldChg chg="delSp modSp mod ord">
        <pc:chgData name="Gunther Gust" userId="61ea5fcd-8539-40ec-bf43-ca4691e3185e" providerId="ADAL" clId="{6B647DDD-111E-40A6-9A34-576809AC1AFA}" dt="2023-10-09T13:32:30.984" v="2894" actId="20577"/>
        <pc:sldMkLst>
          <pc:docMk/>
          <pc:sldMk cId="1535139817" sldId="419"/>
        </pc:sldMkLst>
        <pc:spChg chg="mod">
          <ac:chgData name="Gunther Gust" userId="61ea5fcd-8539-40ec-bf43-ca4691e3185e" providerId="ADAL" clId="{6B647DDD-111E-40A6-9A34-576809AC1AFA}" dt="2023-10-09T13:32:30.984" v="2894" actId="20577"/>
          <ac:spMkLst>
            <pc:docMk/>
            <pc:sldMk cId="1535139817" sldId="419"/>
            <ac:spMk id="4" creationId="{41AD284E-3A13-794F-2A61-FE81D3F763DE}"/>
          </ac:spMkLst>
        </pc:spChg>
        <pc:spChg chg="mod">
          <ac:chgData name="Gunther Gust" userId="61ea5fcd-8539-40ec-bf43-ca4691e3185e" providerId="ADAL" clId="{6B647DDD-111E-40A6-9A34-576809AC1AFA}" dt="2023-10-09T13:31:49.340" v="2793"/>
          <ac:spMkLst>
            <pc:docMk/>
            <pc:sldMk cId="1535139817" sldId="419"/>
            <ac:spMk id="9" creationId="{92BDA3B5-F227-9C97-B68A-37F8FDEDF540}"/>
          </ac:spMkLst>
        </pc:spChg>
        <pc:spChg chg="mod">
          <ac:chgData name="Gunther Gust" userId="61ea5fcd-8539-40ec-bf43-ca4691e3185e" providerId="ADAL" clId="{6B647DDD-111E-40A6-9A34-576809AC1AFA}" dt="2023-10-09T13:29:45.503" v="2784" actId="113"/>
          <ac:spMkLst>
            <pc:docMk/>
            <pc:sldMk cId="1535139817" sldId="419"/>
            <ac:spMk id="10" creationId="{B5FA646E-0240-9827-B2CF-77EBE78D3D5D}"/>
          </ac:spMkLst>
        </pc:spChg>
        <pc:spChg chg="mod">
          <ac:chgData name="Gunther Gust" userId="61ea5fcd-8539-40ec-bf43-ca4691e3185e" providerId="ADAL" clId="{6B647DDD-111E-40A6-9A34-576809AC1AFA}" dt="2023-10-09T13:29:45.503" v="2784" actId="113"/>
          <ac:spMkLst>
            <pc:docMk/>
            <pc:sldMk cId="1535139817" sldId="419"/>
            <ac:spMk id="13" creationId="{A19500DE-353E-701A-B5A5-550567C188CC}"/>
          </ac:spMkLst>
        </pc:spChg>
        <pc:spChg chg="mod">
          <ac:chgData name="Gunther Gust" userId="61ea5fcd-8539-40ec-bf43-ca4691e3185e" providerId="ADAL" clId="{6B647DDD-111E-40A6-9A34-576809AC1AFA}" dt="2023-10-09T13:30:07.507" v="2787" actId="113"/>
          <ac:spMkLst>
            <pc:docMk/>
            <pc:sldMk cId="1535139817" sldId="419"/>
            <ac:spMk id="16" creationId="{8ECCBD74-FCFC-5B65-C97B-5908ECC8CB1E}"/>
          </ac:spMkLst>
        </pc:spChg>
        <pc:spChg chg="mod">
          <ac:chgData name="Gunther Gust" userId="61ea5fcd-8539-40ec-bf43-ca4691e3185e" providerId="ADAL" clId="{6B647DDD-111E-40A6-9A34-576809AC1AFA}" dt="2023-10-09T13:28:25.609" v="2777" actId="6549"/>
          <ac:spMkLst>
            <pc:docMk/>
            <pc:sldMk cId="1535139817" sldId="419"/>
            <ac:spMk id="25" creationId="{BEB4D34F-5C21-7611-C88D-079F07201A97}"/>
          </ac:spMkLst>
        </pc:spChg>
        <pc:spChg chg="mod">
          <ac:chgData name="Gunther Gust" userId="61ea5fcd-8539-40ec-bf43-ca4691e3185e" providerId="ADAL" clId="{6B647DDD-111E-40A6-9A34-576809AC1AFA}" dt="2023-10-09T13:28:55.847" v="2781" actId="113"/>
          <ac:spMkLst>
            <pc:docMk/>
            <pc:sldMk cId="1535139817" sldId="419"/>
            <ac:spMk id="26" creationId="{A97CFE23-6F95-4AE4-7BF6-15CACA1EFEF5}"/>
          </ac:spMkLst>
        </pc:spChg>
        <pc:spChg chg="del">
          <ac:chgData name="Gunther Gust" userId="61ea5fcd-8539-40ec-bf43-ca4691e3185e" providerId="ADAL" clId="{6B647DDD-111E-40A6-9A34-576809AC1AFA}" dt="2023-10-09T13:31:55.594" v="2794" actId="478"/>
          <ac:spMkLst>
            <pc:docMk/>
            <pc:sldMk cId="1535139817" sldId="419"/>
            <ac:spMk id="45" creationId="{8D15C3A4-E094-AEDD-6972-0914BA33C16D}"/>
          </ac:spMkLst>
        </pc:spChg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302720956" sldId="420"/>
        </pc:sldMkLst>
      </pc:sldChg>
      <pc:sldChg chg="del">
        <pc:chgData name="Gunther Gust" userId="61ea5fcd-8539-40ec-bf43-ca4691e3185e" providerId="ADAL" clId="{6B647DDD-111E-40A6-9A34-576809AC1AFA}" dt="2023-10-09T12:35:54.293" v="2483" actId="47"/>
        <pc:sldMkLst>
          <pc:docMk/>
          <pc:sldMk cId="408825537" sldId="421"/>
        </pc:sldMkLst>
      </pc:sldChg>
      <pc:sldChg chg="del">
        <pc:chgData name="Gunther Gust" userId="61ea5fcd-8539-40ec-bf43-ca4691e3185e" providerId="ADAL" clId="{6B647DDD-111E-40A6-9A34-576809AC1AFA}" dt="2023-10-09T13:00:15.583" v="2695" actId="47"/>
        <pc:sldMkLst>
          <pc:docMk/>
          <pc:sldMk cId="1095447105" sldId="422"/>
        </pc:sldMkLst>
      </pc:sldChg>
      <pc:sldChg chg="addSp delSp modSp new mod modClrScheme chgLayout">
        <pc:chgData name="Gunther Gust" userId="61ea5fcd-8539-40ec-bf43-ca4691e3185e" providerId="ADAL" clId="{6B647DDD-111E-40A6-9A34-576809AC1AFA}" dt="2023-10-09T10:34:11.945" v="444" actId="403"/>
        <pc:sldMkLst>
          <pc:docMk/>
          <pc:sldMk cId="3547606227" sldId="423"/>
        </pc:sldMkLst>
        <pc:spChg chg="del mod ord">
          <ac:chgData name="Gunther Gust" userId="61ea5fcd-8539-40ec-bf43-ca4691e3185e" providerId="ADAL" clId="{6B647DDD-111E-40A6-9A34-576809AC1AFA}" dt="2023-10-09T09:17:11.366" v="111" actId="700"/>
          <ac:spMkLst>
            <pc:docMk/>
            <pc:sldMk cId="3547606227" sldId="423"/>
            <ac:spMk id="2" creationId="{7A495EE7-3A32-A207-3D43-FDB3391EA247}"/>
          </ac:spMkLst>
        </pc:spChg>
        <pc:spChg chg="del mod ord">
          <ac:chgData name="Gunther Gust" userId="61ea5fcd-8539-40ec-bf43-ca4691e3185e" providerId="ADAL" clId="{6B647DDD-111E-40A6-9A34-576809AC1AFA}" dt="2023-10-09T09:17:11.366" v="111" actId="700"/>
          <ac:spMkLst>
            <pc:docMk/>
            <pc:sldMk cId="3547606227" sldId="423"/>
            <ac:spMk id="3" creationId="{C1A9BA38-0D60-5DD8-7DF8-35F6A5FC05A5}"/>
          </ac:spMkLst>
        </pc:spChg>
        <pc:spChg chg="add mod ord">
          <ac:chgData name="Gunther Gust" userId="61ea5fcd-8539-40ec-bf43-ca4691e3185e" providerId="ADAL" clId="{6B647DDD-111E-40A6-9A34-576809AC1AFA}" dt="2023-10-09T10:33:55.794" v="434" actId="20577"/>
          <ac:spMkLst>
            <pc:docMk/>
            <pc:sldMk cId="3547606227" sldId="423"/>
            <ac:spMk id="4" creationId="{A226B3FF-E5B7-7507-622C-464B6B095F99}"/>
          </ac:spMkLst>
        </pc:spChg>
        <pc:spChg chg="add mod ord">
          <ac:chgData name="Gunther Gust" userId="61ea5fcd-8539-40ec-bf43-ca4691e3185e" providerId="ADAL" clId="{6B647DDD-111E-40A6-9A34-576809AC1AFA}" dt="2023-10-09T10:34:11.945" v="444" actId="403"/>
          <ac:spMkLst>
            <pc:docMk/>
            <pc:sldMk cId="3547606227" sldId="423"/>
            <ac:spMk id="5" creationId="{46BA242B-0FDE-9718-3D59-10C74ACDB7AB}"/>
          </ac:spMkLst>
        </pc:spChg>
      </pc:sldChg>
      <pc:sldChg chg="addSp delSp modSp new mod">
        <pc:chgData name="Gunther Gust" userId="61ea5fcd-8539-40ec-bf43-ca4691e3185e" providerId="ADAL" clId="{6B647DDD-111E-40A6-9A34-576809AC1AFA}" dt="2023-10-09T10:38:26.097" v="619" actId="20577"/>
        <pc:sldMkLst>
          <pc:docMk/>
          <pc:sldMk cId="2296356833" sldId="424"/>
        </pc:sldMkLst>
        <pc:spChg chg="del">
          <ac:chgData name="Gunther Gust" userId="61ea5fcd-8539-40ec-bf43-ca4691e3185e" providerId="ADAL" clId="{6B647DDD-111E-40A6-9A34-576809AC1AFA}" dt="2023-10-09T10:36:17.168" v="588" actId="478"/>
          <ac:spMkLst>
            <pc:docMk/>
            <pc:sldMk cId="2296356833" sldId="424"/>
            <ac:spMk id="2" creationId="{48373046-B21F-2DAB-BEF0-25DE92EDCBA3}"/>
          </ac:spMkLst>
        </pc:spChg>
        <pc:spChg chg="mod">
          <ac:chgData name="Gunther Gust" userId="61ea5fcd-8539-40ec-bf43-ca4691e3185e" providerId="ADAL" clId="{6B647DDD-111E-40A6-9A34-576809AC1AFA}" dt="2023-10-09T10:38:26.097" v="619" actId="20577"/>
          <ac:spMkLst>
            <pc:docMk/>
            <pc:sldMk cId="2296356833" sldId="424"/>
            <ac:spMk id="4" creationId="{27E3AC7E-F6A2-4845-DE25-C23533A4D55B}"/>
          </ac:spMkLst>
        </pc:spChg>
        <pc:picChg chg="add mod">
          <ac:chgData name="Gunther Gust" userId="61ea5fcd-8539-40ec-bf43-ca4691e3185e" providerId="ADAL" clId="{6B647DDD-111E-40A6-9A34-576809AC1AFA}" dt="2023-10-09T10:36:38.980" v="595" actId="1076"/>
          <ac:picMkLst>
            <pc:docMk/>
            <pc:sldMk cId="2296356833" sldId="424"/>
            <ac:picMk id="1026" creationId="{0D880662-6477-F5CF-A2CE-D7B60CD810BA}"/>
          </ac:picMkLst>
        </pc:picChg>
      </pc:sldChg>
      <pc:sldChg chg="addSp delSp modSp add mod">
        <pc:chgData name="Gunther Gust" userId="61ea5fcd-8539-40ec-bf43-ca4691e3185e" providerId="ADAL" clId="{6B647DDD-111E-40A6-9A34-576809AC1AFA}" dt="2023-10-09T10:38:37.354" v="627" actId="20577"/>
        <pc:sldMkLst>
          <pc:docMk/>
          <pc:sldMk cId="177761360" sldId="425"/>
        </pc:sldMkLst>
        <pc:spChg chg="mod">
          <ac:chgData name="Gunther Gust" userId="61ea5fcd-8539-40ec-bf43-ca4691e3185e" providerId="ADAL" clId="{6B647DDD-111E-40A6-9A34-576809AC1AFA}" dt="2023-10-09T10:38:37.354" v="627" actId="20577"/>
          <ac:spMkLst>
            <pc:docMk/>
            <pc:sldMk cId="177761360" sldId="425"/>
            <ac:spMk id="4" creationId="{27E3AC7E-F6A2-4845-DE25-C23533A4D55B}"/>
          </ac:spMkLst>
        </pc:spChg>
        <pc:picChg chg="del">
          <ac:chgData name="Gunther Gust" userId="61ea5fcd-8539-40ec-bf43-ca4691e3185e" providerId="ADAL" clId="{6B647DDD-111E-40A6-9A34-576809AC1AFA}" dt="2023-10-09T10:37:41.914" v="597" actId="478"/>
          <ac:picMkLst>
            <pc:docMk/>
            <pc:sldMk cId="177761360" sldId="425"/>
            <ac:picMk id="1026" creationId="{0D880662-6477-F5CF-A2CE-D7B60CD810BA}"/>
          </ac:picMkLst>
        </pc:picChg>
        <pc:picChg chg="add mod">
          <ac:chgData name="Gunther Gust" userId="61ea5fcd-8539-40ec-bf43-ca4691e3185e" providerId="ADAL" clId="{6B647DDD-111E-40A6-9A34-576809AC1AFA}" dt="2023-10-09T10:37:48.931" v="601" actId="1076"/>
          <ac:picMkLst>
            <pc:docMk/>
            <pc:sldMk cId="177761360" sldId="425"/>
            <ac:picMk id="2050" creationId="{D9DEBD22-8E59-893E-8C22-C80636FFD205}"/>
          </ac:picMkLst>
        </pc:picChg>
      </pc:sldChg>
      <pc:sldChg chg="addSp delSp modSp add mod">
        <pc:chgData name="Gunther Gust" userId="61ea5fcd-8539-40ec-bf43-ca4691e3185e" providerId="ADAL" clId="{6B647DDD-111E-40A6-9A34-576809AC1AFA}" dt="2023-10-09T10:43:30.748" v="752" actId="1076"/>
        <pc:sldMkLst>
          <pc:docMk/>
          <pc:sldMk cId="1181775369" sldId="426"/>
        </pc:sldMkLst>
        <pc:spChg chg="add mod">
          <ac:chgData name="Gunther Gust" userId="61ea5fcd-8539-40ec-bf43-ca4691e3185e" providerId="ADAL" clId="{6B647DDD-111E-40A6-9A34-576809AC1AFA}" dt="2023-10-09T10:43:30.748" v="752" actId="1076"/>
          <ac:spMkLst>
            <pc:docMk/>
            <pc:sldMk cId="1181775369" sldId="426"/>
            <ac:spMk id="2" creationId="{631308F6-5311-0897-9135-D4862A79EBBA}"/>
          </ac:spMkLst>
        </pc:spChg>
        <pc:spChg chg="mod">
          <ac:chgData name="Gunther Gust" userId="61ea5fcd-8539-40ec-bf43-ca4691e3185e" providerId="ADAL" clId="{6B647DDD-111E-40A6-9A34-576809AC1AFA}" dt="2023-10-09T10:38:59.507" v="652" actId="20577"/>
          <ac:spMkLst>
            <pc:docMk/>
            <pc:sldMk cId="1181775369" sldId="426"/>
            <ac:spMk id="4" creationId="{27E3AC7E-F6A2-4845-DE25-C23533A4D55B}"/>
          </ac:spMkLst>
        </pc:spChg>
        <pc:grpChg chg="add mod">
          <ac:chgData name="Gunther Gust" userId="61ea5fcd-8539-40ec-bf43-ca4691e3185e" providerId="ADAL" clId="{6B647DDD-111E-40A6-9A34-576809AC1AFA}" dt="2023-10-09T10:43:30.748" v="752" actId="1076"/>
          <ac:grpSpMkLst>
            <pc:docMk/>
            <pc:sldMk cId="1181775369" sldId="426"/>
            <ac:grpSpMk id="6" creationId="{00664F1E-7164-4719-7C4A-5135D5D293E3}"/>
          </ac:grpSpMkLst>
        </pc:grpChg>
        <pc:picChg chg="del">
          <ac:chgData name="Gunther Gust" userId="61ea5fcd-8539-40ec-bf43-ca4691e3185e" providerId="ADAL" clId="{6B647DDD-111E-40A6-9A34-576809AC1AFA}" dt="2023-10-09T10:40:00.412" v="653" actId="478"/>
          <ac:picMkLst>
            <pc:docMk/>
            <pc:sldMk cId="1181775369" sldId="426"/>
            <ac:picMk id="2050" creationId="{D9DEBD22-8E59-893E-8C22-C80636FFD205}"/>
          </ac:picMkLst>
        </pc:picChg>
        <pc:picChg chg="add mod">
          <ac:chgData name="Gunther Gust" userId="61ea5fcd-8539-40ec-bf43-ca4691e3185e" providerId="ADAL" clId="{6B647DDD-111E-40A6-9A34-576809AC1AFA}" dt="2023-10-09T10:43:30.748" v="752" actId="1076"/>
          <ac:picMkLst>
            <pc:docMk/>
            <pc:sldMk cId="1181775369" sldId="426"/>
            <ac:picMk id="3074" creationId="{FEA2D817-75AA-73ED-8B23-6D75694BD247}"/>
          </ac:picMkLst>
        </pc:picChg>
      </pc:sldChg>
      <pc:sldChg chg="modSp new mod">
        <pc:chgData name="Gunther Gust" userId="61ea5fcd-8539-40ec-bf43-ca4691e3185e" providerId="ADAL" clId="{6B647DDD-111E-40A6-9A34-576809AC1AFA}" dt="2023-10-09T10:49:30.782" v="900" actId="20577"/>
        <pc:sldMkLst>
          <pc:docMk/>
          <pc:sldMk cId="2761448358" sldId="427"/>
        </pc:sldMkLst>
        <pc:spChg chg="mod">
          <ac:chgData name="Gunther Gust" userId="61ea5fcd-8539-40ec-bf43-ca4691e3185e" providerId="ADAL" clId="{6B647DDD-111E-40A6-9A34-576809AC1AFA}" dt="2023-10-09T10:49:24.214" v="884" actId="5793"/>
          <ac:spMkLst>
            <pc:docMk/>
            <pc:sldMk cId="2761448358" sldId="427"/>
            <ac:spMk id="2" creationId="{A84ED20E-015A-22E6-8129-C1B1035DDC47}"/>
          </ac:spMkLst>
        </pc:spChg>
        <pc:spChg chg="mod">
          <ac:chgData name="Gunther Gust" userId="61ea5fcd-8539-40ec-bf43-ca4691e3185e" providerId="ADAL" clId="{6B647DDD-111E-40A6-9A34-576809AC1AFA}" dt="2023-10-09T10:49:30.782" v="900" actId="20577"/>
          <ac:spMkLst>
            <pc:docMk/>
            <pc:sldMk cId="2761448358" sldId="427"/>
            <ac:spMk id="4" creationId="{19D2F621-907A-433B-CD5D-67A323B4C5AB}"/>
          </ac:spMkLst>
        </pc:spChg>
      </pc:sldChg>
      <pc:sldChg chg="addSp delSp modSp new mod">
        <pc:chgData name="Gunther Gust" userId="61ea5fcd-8539-40ec-bf43-ca4691e3185e" providerId="ADAL" clId="{6B647DDD-111E-40A6-9A34-576809AC1AFA}" dt="2023-10-09T10:55:11.935" v="1175" actId="732"/>
        <pc:sldMkLst>
          <pc:docMk/>
          <pc:sldMk cId="305883533" sldId="428"/>
        </pc:sldMkLst>
        <pc:spChg chg="del">
          <ac:chgData name="Gunther Gust" userId="61ea5fcd-8539-40ec-bf43-ca4691e3185e" providerId="ADAL" clId="{6B647DDD-111E-40A6-9A34-576809AC1AFA}" dt="2023-10-09T10:54:40.182" v="1171" actId="478"/>
          <ac:spMkLst>
            <pc:docMk/>
            <pc:sldMk cId="305883533" sldId="428"/>
            <ac:spMk id="2" creationId="{421459DB-8696-36CC-04A0-0D813C4D10E2}"/>
          </ac:spMkLst>
        </pc:spChg>
        <pc:spChg chg="mod">
          <ac:chgData name="Gunther Gust" userId="61ea5fcd-8539-40ec-bf43-ca4691e3185e" providerId="ADAL" clId="{6B647DDD-111E-40A6-9A34-576809AC1AFA}" dt="2023-10-09T10:52:29.253" v="1170" actId="20577"/>
          <ac:spMkLst>
            <pc:docMk/>
            <pc:sldMk cId="305883533" sldId="428"/>
            <ac:spMk id="4" creationId="{2E523E48-9C1E-A982-981F-3D8F78BE3577}"/>
          </ac:spMkLst>
        </pc:spChg>
        <pc:picChg chg="add mod">
          <ac:chgData name="Gunther Gust" userId="61ea5fcd-8539-40ec-bf43-ca4691e3185e" providerId="ADAL" clId="{6B647DDD-111E-40A6-9A34-576809AC1AFA}" dt="2023-10-09T10:55:11.935" v="1175" actId="732"/>
          <ac:picMkLst>
            <pc:docMk/>
            <pc:sldMk cId="305883533" sldId="428"/>
            <ac:picMk id="4098" creationId="{2779B262-5B98-80AE-E27F-B6BE16F77BFF}"/>
          </ac:picMkLst>
        </pc:picChg>
      </pc:sldChg>
      <pc:sldChg chg="addSp delSp modSp new mod ord">
        <pc:chgData name="Gunther Gust" userId="61ea5fcd-8539-40ec-bf43-ca4691e3185e" providerId="ADAL" clId="{6B647DDD-111E-40A6-9A34-576809AC1AFA}" dt="2023-10-09T11:22:08.861" v="1640" actId="20577"/>
        <pc:sldMkLst>
          <pc:docMk/>
          <pc:sldMk cId="3393522812" sldId="429"/>
        </pc:sldMkLst>
        <pc:spChg chg="del">
          <ac:chgData name="Gunther Gust" userId="61ea5fcd-8539-40ec-bf43-ca4691e3185e" providerId="ADAL" clId="{6B647DDD-111E-40A6-9A34-576809AC1AFA}" dt="2023-10-09T11:12:12.267" v="1612" actId="478"/>
          <ac:spMkLst>
            <pc:docMk/>
            <pc:sldMk cId="3393522812" sldId="429"/>
            <ac:spMk id="2" creationId="{A4228CE0-DE2F-4323-C799-9D5263FD8032}"/>
          </ac:spMkLst>
        </pc:spChg>
        <pc:spChg chg="mod">
          <ac:chgData name="Gunther Gust" userId="61ea5fcd-8539-40ec-bf43-ca4691e3185e" providerId="ADAL" clId="{6B647DDD-111E-40A6-9A34-576809AC1AFA}" dt="2023-10-09T11:22:08.861" v="1640" actId="20577"/>
          <ac:spMkLst>
            <pc:docMk/>
            <pc:sldMk cId="3393522812" sldId="429"/>
            <ac:spMk id="4" creationId="{5E585B02-6147-7DBD-E939-DBB870F833F6}"/>
          </ac:spMkLst>
        </pc:spChg>
        <pc:picChg chg="add del mod">
          <ac:chgData name="Gunther Gust" userId="61ea5fcd-8539-40ec-bf43-ca4691e3185e" providerId="ADAL" clId="{6B647DDD-111E-40A6-9A34-576809AC1AFA}" dt="2023-10-09T11:21:46.308" v="1628" actId="478"/>
          <ac:picMkLst>
            <pc:docMk/>
            <pc:sldMk cId="3393522812" sldId="429"/>
            <ac:picMk id="6" creationId="{A5B4D91C-809D-4217-105A-F4C11D734C5E}"/>
          </ac:picMkLst>
        </pc:picChg>
        <pc:picChg chg="add del mod">
          <ac:chgData name="Gunther Gust" userId="61ea5fcd-8539-40ec-bf43-ca4691e3185e" providerId="ADAL" clId="{6B647DDD-111E-40A6-9A34-576809AC1AFA}" dt="2023-10-09T11:12:46.947" v="1618" actId="478"/>
          <ac:picMkLst>
            <pc:docMk/>
            <pc:sldMk cId="3393522812" sldId="429"/>
            <ac:picMk id="7" creationId="{58B8D6BC-6D30-495C-494C-60C23DD59949}"/>
          </ac:picMkLst>
        </pc:picChg>
        <pc:picChg chg="add del mod">
          <ac:chgData name="Gunther Gust" userId="61ea5fcd-8539-40ec-bf43-ca4691e3185e" providerId="ADAL" clId="{6B647DDD-111E-40A6-9A34-576809AC1AFA}" dt="2023-10-09T11:13:32.994" v="1624" actId="478"/>
          <ac:picMkLst>
            <pc:docMk/>
            <pc:sldMk cId="3393522812" sldId="429"/>
            <ac:picMk id="8" creationId="{EECA4C3B-DE2B-F0C2-3989-755252F6DB28}"/>
          </ac:picMkLst>
        </pc:picChg>
        <pc:picChg chg="add mod">
          <ac:chgData name="Gunther Gust" userId="61ea5fcd-8539-40ec-bf43-ca4691e3185e" providerId="ADAL" clId="{6B647DDD-111E-40A6-9A34-576809AC1AFA}" dt="2023-10-09T11:21:54.614" v="1631" actId="1076"/>
          <ac:picMkLst>
            <pc:docMk/>
            <pc:sldMk cId="3393522812" sldId="429"/>
            <ac:picMk id="9" creationId="{0D50ACD2-D14C-F227-5010-692C666787EA}"/>
          </ac:picMkLst>
        </pc:picChg>
      </pc:sldChg>
      <pc:sldChg chg="addSp delSp modSp new mod">
        <pc:chgData name="Gunther Gust" userId="61ea5fcd-8539-40ec-bf43-ca4691e3185e" providerId="ADAL" clId="{6B647DDD-111E-40A6-9A34-576809AC1AFA}" dt="2023-10-09T11:07:21.479" v="1480" actId="1076"/>
        <pc:sldMkLst>
          <pc:docMk/>
          <pc:sldMk cId="3973024483" sldId="430"/>
        </pc:sldMkLst>
        <pc:spChg chg="del">
          <ac:chgData name="Gunther Gust" userId="61ea5fcd-8539-40ec-bf43-ca4691e3185e" providerId="ADAL" clId="{6B647DDD-111E-40A6-9A34-576809AC1AFA}" dt="2023-10-09T11:07:07.955" v="1474" actId="478"/>
          <ac:spMkLst>
            <pc:docMk/>
            <pc:sldMk cId="3973024483" sldId="430"/>
            <ac:spMk id="2" creationId="{662FC101-24AE-BA07-3160-3F67E9E02B16}"/>
          </ac:spMkLst>
        </pc:spChg>
        <pc:spChg chg="mod">
          <ac:chgData name="Gunther Gust" userId="61ea5fcd-8539-40ec-bf43-ca4691e3185e" providerId="ADAL" clId="{6B647DDD-111E-40A6-9A34-576809AC1AFA}" dt="2023-10-09T11:00:52.710" v="1402" actId="20577"/>
          <ac:spMkLst>
            <pc:docMk/>
            <pc:sldMk cId="3973024483" sldId="430"/>
            <ac:spMk id="4" creationId="{E94082D1-C993-0ABE-F26D-8B589B7B44D5}"/>
          </ac:spMkLst>
        </pc:spChg>
        <pc:picChg chg="add mod modCrop">
          <ac:chgData name="Gunther Gust" userId="61ea5fcd-8539-40ec-bf43-ca4691e3185e" providerId="ADAL" clId="{6B647DDD-111E-40A6-9A34-576809AC1AFA}" dt="2023-10-09T11:07:21.479" v="1480" actId="1076"/>
          <ac:picMkLst>
            <pc:docMk/>
            <pc:sldMk cId="3973024483" sldId="430"/>
            <ac:picMk id="7" creationId="{CFFF4AF0-9178-6EFF-89D7-4FB3D1C1EDF9}"/>
          </ac:picMkLst>
        </pc:picChg>
      </pc:sldChg>
      <pc:sldChg chg="modSp add mod ord">
        <pc:chgData name="Gunther Gust" userId="61ea5fcd-8539-40ec-bf43-ca4691e3185e" providerId="ADAL" clId="{6B647DDD-111E-40A6-9A34-576809AC1AFA}" dt="2023-10-09T13:47:53.609" v="3196" actId="113"/>
        <pc:sldMkLst>
          <pc:docMk/>
          <pc:sldMk cId="1517046735" sldId="431"/>
        </pc:sldMkLst>
        <pc:spChg chg="mod">
          <ac:chgData name="Gunther Gust" userId="61ea5fcd-8539-40ec-bf43-ca4691e3185e" providerId="ADAL" clId="{6B647DDD-111E-40A6-9A34-576809AC1AFA}" dt="2023-10-09T13:47:53.609" v="3196" actId="113"/>
          <ac:spMkLst>
            <pc:docMk/>
            <pc:sldMk cId="1517046735" sldId="431"/>
            <ac:spMk id="5" creationId="{52767F61-9A36-DF46-65FD-155F9131D02F}"/>
          </ac:spMkLst>
        </pc:spChg>
      </pc:sldChg>
      <pc:sldChg chg="modSp add mod">
        <pc:chgData name="Gunther Gust" userId="61ea5fcd-8539-40ec-bf43-ca4691e3185e" providerId="ADAL" clId="{6B647DDD-111E-40A6-9A34-576809AC1AFA}" dt="2023-10-09T13:00:01.782" v="2692" actId="20577"/>
        <pc:sldMkLst>
          <pc:docMk/>
          <pc:sldMk cId="2129977208" sldId="432"/>
        </pc:sldMkLst>
        <pc:spChg chg="mod">
          <ac:chgData name="Gunther Gust" userId="61ea5fcd-8539-40ec-bf43-ca4691e3185e" providerId="ADAL" clId="{6B647DDD-111E-40A6-9A34-576809AC1AFA}" dt="2023-10-09T12:59:37.599" v="2662" actId="20577"/>
          <ac:spMkLst>
            <pc:docMk/>
            <pc:sldMk cId="2129977208" sldId="432"/>
            <ac:spMk id="2" creationId="{CDAC55D4-ABA1-22A7-39DF-C470F9C81830}"/>
          </ac:spMkLst>
        </pc:spChg>
        <pc:spChg chg="mod">
          <ac:chgData name="Gunther Gust" userId="61ea5fcd-8539-40ec-bf43-ca4691e3185e" providerId="ADAL" clId="{6B647DDD-111E-40A6-9A34-576809AC1AFA}" dt="2023-10-09T13:00:01.782" v="2692" actId="20577"/>
          <ac:spMkLst>
            <pc:docMk/>
            <pc:sldMk cId="2129977208" sldId="432"/>
            <ac:spMk id="4" creationId="{01AA64B0-4541-C29A-576A-224339F31712}"/>
          </ac:spMkLst>
        </pc:spChg>
      </pc:sldChg>
      <pc:sldChg chg="addSp delSp modSp new del mod">
        <pc:chgData name="Gunther Gust" userId="61ea5fcd-8539-40ec-bf43-ca4691e3185e" providerId="ADAL" clId="{6B647DDD-111E-40A6-9A34-576809AC1AFA}" dt="2023-10-09T12:28:54.921" v="1819" actId="47"/>
        <pc:sldMkLst>
          <pc:docMk/>
          <pc:sldMk cId="956693412" sldId="433"/>
        </pc:sldMkLst>
        <pc:spChg chg="del 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2" creationId="{DD29A12B-1B30-A676-0842-039B96C6E6F9}"/>
          </ac:spMkLst>
        </pc:spChg>
        <pc:spChg chg="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3" creationId="{1DA11F6F-6AF1-294D-6048-6EB14ADCEE39}"/>
          </ac:spMkLst>
        </pc:spChg>
        <pc:spChg chg="del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4" creationId="{87022CBB-4E66-4EF8-E41D-525F01381BBF}"/>
          </ac:spMkLst>
        </pc:spChg>
        <pc:spChg chg="mo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5" creationId="{B8EDA4C3-AB2B-B3CB-D264-48A7CB698CC8}"/>
          </ac:spMkLst>
        </pc:spChg>
        <pc:spChg chg="add">
          <ac:chgData name="Gunther Gust" userId="61ea5fcd-8539-40ec-bf43-ca4691e3185e" providerId="ADAL" clId="{6B647DDD-111E-40A6-9A34-576809AC1AFA}" dt="2023-10-09T12:06:00.738" v="1782" actId="26606"/>
          <ac:spMkLst>
            <pc:docMk/>
            <pc:sldMk cId="956693412" sldId="433"/>
            <ac:spMk id="11" creationId="{CC6AA141-B841-1CEE-3C8B-1589F9A09EF5}"/>
          </ac:spMkLst>
        </pc:spChg>
        <pc:graphicFrameChg chg="add">
          <ac:chgData name="Gunther Gust" userId="61ea5fcd-8539-40ec-bf43-ca4691e3185e" providerId="ADAL" clId="{6B647DDD-111E-40A6-9A34-576809AC1AFA}" dt="2023-10-09T12:06:00.738" v="1782" actId="26606"/>
          <ac:graphicFrameMkLst>
            <pc:docMk/>
            <pc:sldMk cId="956693412" sldId="433"/>
            <ac:graphicFrameMk id="7" creationId="{36E1B13F-3759-E0D9-BEEC-B93C626273F3}"/>
          </ac:graphicFrameMkLst>
        </pc:graphicFrameChg>
      </pc:sldChg>
      <pc:sldChg chg="addSp delSp modSp new mod ord modClrScheme chgLayout">
        <pc:chgData name="Gunther Gust" userId="61ea5fcd-8539-40ec-bf43-ca4691e3185e" providerId="ADAL" clId="{6B647DDD-111E-40A6-9A34-576809AC1AFA}" dt="2023-10-09T13:49:03.827" v="3246" actId="113"/>
        <pc:sldMkLst>
          <pc:docMk/>
          <pc:sldMk cId="394351336" sldId="434"/>
        </pc:sldMkLst>
        <pc:spChg chg="del 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2" creationId="{2817D7E6-5C1B-0393-9185-FE741E4805EF}"/>
          </ac:spMkLst>
        </pc:spChg>
        <pc:spChg chg="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3" creationId="{F09C1D87-C064-DFF1-A4B9-608FA602F8E2}"/>
          </ac:spMkLst>
        </pc:spChg>
        <pc:spChg chg="del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4" creationId="{E2461242-7A21-3CD0-C9CE-F818E52B04DB}"/>
          </ac:spMkLst>
        </pc:spChg>
        <pc:spChg chg="mod">
          <ac:chgData name="Gunther Gust" userId="61ea5fcd-8539-40ec-bf43-ca4691e3185e" providerId="ADAL" clId="{6B647DDD-111E-40A6-9A34-576809AC1AFA}" dt="2023-10-09T12:26:30.752" v="1785" actId="26606"/>
          <ac:spMkLst>
            <pc:docMk/>
            <pc:sldMk cId="394351336" sldId="434"/>
            <ac:spMk id="5" creationId="{B8EB4D9B-C697-3D13-2B62-6F5BCA8F7CB6}"/>
          </ac:spMkLst>
        </pc:spChg>
        <pc:spChg chg="add mod">
          <ac:chgData name="Gunther Gust" userId="61ea5fcd-8539-40ec-bf43-ca4691e3185e" providerId="ADAL" clId="{6B647DDD-111E-40A6-9A34-576809AC1AFA}" dt="2023-10-09T13:48:57.518" v="3245" actId="20577"/>
          <ac:spMkLst>
            <pc:docMk/>
            <pc:sldMk cId="394351336" sldId="434"/>
            <ac:spMk id="11" creationId="{0DDD30A5-17E1-65CD-2AC4-CBB36BEA7062}"/>
          </ac:spMkLst>
        </pc:spChg>
        <pc:graphicFrameChg chg="add mod">
          <ac:chgData name="Gunther Gust" userId="61ea5fcd-8539-40ec-bf43-ca4691e3185e" providerId="ADAL" clId="{6B647DDD-111E-40A6-9A34-576809AC1AFA}" dt="2023-10-09T13:49:03.827" v="3246" actId="113"/>
          <ac:graphicFrameMkLst>
            <pc:docMk/>
            <pc:sldMk cId="394351336" sldId="434"/>
            <ac:graphicFrameMk id="7" creationId="{3D5F5DFB-AE05-DD18-FF4E-A02BC26E0628}"/>
          </ac:graphicFrameMkLst>
        </pc:graphicFrameChg>
      </pc:sldChg>
      <pc:sldChg chg="modSp add mod">
        <pc:chgData name="Gunther Gust" userId="61ea5fcd-8539-40ec-bf43-ca4691e3185e" providerId="ADAL" clId="{6B647DDD-111E-40A6-9A34-576809AC1AFA}" dt="2023-10-09T13:47:59.782" v="3197" actId="113"/>
        <pc:sldMkLst>
          <pc:docMk/>
          <pc:sldMk cId="3154330576" sldId="435"/>
        </pc:sldMkLst>
        <pc:spChg chg="mod">
          <ac:chgData name="Gunther Gust" userId="61ea5fcd-8539-40ec-bf43-ca4691e3185e" providerId="ADAL" clId="{6B647DDD-111E-40A6-9A34-576809AC1AFA}" dt="2023-10-09T13:47:59.782" v="3197" actId="113"/>
          <ac:spMkLst>
            <pc:docMk/>
            <pc:sldMk cId="3154330576" sldId="435"/>
            <ac:spMk id="5" creationId="{52767F61-9A36-DF46-65FD-155F9131D02F}"/>
          </ac:spMkLst>
        </pc:spChg>
      </pc:sldChg>
    </pc:docChg>
  </pc:docChgLst>
  <pc:docChgLst>
    <pc:chgData name="Gunther Gust" userId="61ea5fcd-8539-40ec-bf43-ca4691e3185e" providerId="ADAL" clId="{FFCD5D4A-1C4A-4BDF-9202-2F28E0AF1E7F}"/>
    <pc:docChg chg="undo custSel addSld delSld modSld sldOrd">
      <pc:chgData name="Gunther Gust" userId="61ea5fcd-8539-40ec-bf43-ca4691e3185e" providerId="ADAL" clId="{FFCD5D4A-1C4A-4BDF-9202-2F28E0AF1E7F}" dt="2023-10-17T07:42:50.539" v="946" actId="20577"/>
      <pc:docMkLst>
        <pc:docMk/>
      </pc:docMkLst>
      <pc:sldChg chg="modSp mod">
        <pc:chgData name="Gunther Gust" userId="61ea5fcd-8539-40ec-bf43-ca4691e3185e" providerId="ADAL" clId="{FFCD5D4A-1C4A-4BDF-9202-2F28E0AF1E7F}" dt="2023-10-10T10:02:04.604" v="37" actId="113"/>
        <pc:sldMkLst>
          <pc:docMk/>
          <pc:sldMk cId="2334880311" sldId="300"/>
        </pc:sldMkLst>
        <pc:spChg chg="mod">
          <ac:chgData name="Gunther Gust" userId="61ea5fcd-8539-40ec-bf43-ca4691e3185e" providerId="ADAL" clId="{FFCD5D4A-1C4A-4BDF-9202-2F28E0AF1E7F}" dt="2023-10-10T10:02:04.604" v="37" actId="113"/>
          <ac:spMkLst>
            <pc:docMk/>
            <pc:sldMk cId="2334880311" sldId="300"/>
            <ac:spMk id="2" creationId="{699657CF-76FF-4FAB-A313-9709E2293488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677302498" sldId="390"/>
        </pc:sldMkLst>
      </pc:sldChg>
      <pc:sldChg chg="modSp mod ord">
        <pc:chgData name="Gunther Gust" userId="61ea5fcd-8539-40ec-bf43-ca4691e3185e" providerId="ADAL" clId="{FFCD5D4A-1C4A-4BDF-9202-2F28E0AF1E7F}" dt="2023-10-10T10:09:38.894" v="306" actId="20577"/>
        <pc:sldMkLst>
          <pc:docMk/>
          <pc:sldMk cId="2057544375" sldId="394"/>
        </pc:sldMkLst>
        <pc:spChg chg="mod">
          <ac:chgData name="Gunther Gust" userId="61ea5fcd-8539-40ec-bf43-ca4691e3185e" providerId="ADAL" clId="{FFCD5D4A-1C4A-4BDF-9202-2F28E0AF1E7F}" dt="2023-10-10T10:09:38.894" v="306" actId="20577"/>
          <ac:spMkLst>
            <pc:docMk/>
            <pc:sldMk cId="2057544375" sldId="394"/>
            <ac:spMk id="4" creationId="{D3987EF8-0A55-EFE0-82B4-264086534FFA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579640487" sldId="395"/>
        </pc:sldMkLst>
      </pc:sldChg>
      <pc:sldChg chg="ord">
        <pc:chgData name="Gunther Gust" userId="61ea5fcd-8539-40ec-bf43-ca4691e3185e" providerId="ADAL" clId="{FFCD5D4A-1C4A-4BDF-9202-2F28E0AF1E7F}" dt="2023-10-10T10:11:20.744" v="406"/>
        <pc:sldMkLst>
          <pc:docMk/>
          <pc:sldMk cId="2964621384" sldId="398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835479179" sldId="403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794321176" sldId="404"/>
        </pc:sldMkLst>
      </pc:sldChg>
      <pc:sldChg chg="modSp mod ord">
        <pc:chgData name="Gunther Gust" userId="61ea5fcd-8539-40ec-bf43-ca4691e3185e" providerId="ADAL" clId="{FFCD5D4A-1C4A-4BDF-9202-2F28E0AF1E7F}" dt="2023-10-10T10:08:15.501" v="239" actId="20577"/>
        <pc:sldMkLst>
          <pc:docMk/>
          <pc:sldMk cId="1535139817" sldId="419"/>
        </pc:sldMkLst>
        <pc:spChg chg="mod">
          <ac:chgData name="Gunther Gust" userId="61ea5fcd-8539-40ec-bf43-ca4691e3185e" providerId="ADAL" clId="{FFCD5D4A-1C4A-4BDF-9202-2F28E0AF1E7F}" dt="2023-10-10T10:08:15.501" v="239" actId="20577"/>
          <ac:spMkLst>
            <pc:docMk/>
            <pc:sldMk cId="1535139817" sldId="419"/>
            <ac:spMk id="4" creationId="{41AD284E-3A13-794F-2A61-FE81D3F763DE}"/>
          </ac:spMkLst>
        </pc:spChg>
        <pc:spChg chg="mod">
          <ac:chgData name="Gunther Gust" userId="61ea5fcd-8539-40ec-bf43-ca4691e3185e" providerId="ADAL" clId="{FFCD5D4A-1C4A-4BDF-9202-2F28E0AF1E7F}" dt="2023-10-10T10:07:18.499" v="230" actId="108"/>
          <ac:spMkLst>
            <pc:docMk/>
            <pc:sldMk cId="1535139817" sldId="419"/>
            <ac:spMk id="9" creationId="{92BDA3B5-F227-9C97-B68A-37F8FDEDF540}"/>
          </ac:spMkLst>
        </pc:spChg>
        <pc:spChg chg="mod">
          <ac:chgData name="Gunther Gust" userId="61ea5fcd-8539-40ec-bf43-ca4691e3185e" providerId="ADAL" clId="{FFCD5D4A-1C4A-4BDF-9202-2F28E0AF1E7F}" dt="2023-10-10T10:07:17.666" v="228" actId="108"/>
          <ac:spMkLst>
            <pc:docMk/>
            <pc:sldMk cId="1535139817" sldId="419"/>
            <ac:spMk id="11" creationId="{AD5095F1-CEBB-9BFC-0B17-23CC721A475A}"/>
          </ac:spMkLst>
        </pc:spChg>
        <pc:spChg chg="mod">
          <ac:chgData name="Gunther Gust" userId="61ea5fcd-8539-40ec-bf43-ca4691e3185e" providerId="ADAL" clId="{FFCD5D4A-1C4A-4BDF-9202-2F28E0AF1E7F}" dt="2023-10-10T10:07:18.102" v="229" actId="108"/>
          <ac:spMkLst>
            <pc:docMk/>
            <pc:sldMk cId="1535139817" sldId="419"/>
            <ac:spMk id="12" creationId="{F8CD6666-FBCB-3056-E4C5-67E995501FDC}"/>
          </ac:spMkLst>
        </pc:spChg>
        <pc:spChg chg="mod">
          <ac:chgData name="Gunther Gust" userId="61ea5fcd-8539-40ec-bf43-ca4691e3185e" providerId="ADAL" clId="{FFCD5D4A-1C4A-4BDF-9202-2F28E0AF1E7F}" dt="2023-10-10T10:06:42.534" v="225" actId="108"/>
          <ac:spMkLst>
            <pc:docMk/>
            <pc:sldMk cId="1535139817" sldId="419"/>
            <ac:spMk id="16" creationId="{8ECCBD74-FCFC-5B65-C97B-5908ECC8CB1E}"/>
          </ac:spMkLst>
        </pc:spChg>
        <pc:spChg chg="mod">
          <ac:chgData name="Gunther Gust" userId="61ea5fcd-8539-40ec-bf43-ca4691e3185e" providerId="ADAL" clId="{FFCD5D4A-1C4A-4BDF-9202-2F28E0AF1E7F}" dt="2023-10-10T10:07:17.261" v="227" actId="108"/>
          <ac:spMkLst>
            <pc:docMk/>
            <pc:sldMk cId="1535139817" sldId="419"/>
            <ac:spMk id="20" creationId="{BED9A3CD-DCAD-2B01-7AB5-756B8CC1C761}"/>
          </ac:spMkLst>
        </pc:spChg>
        <pc:spChg chg="mod">
          <ac:chgData name="Gunther Gust" userId="61ea5fcd-8539-40ec-bf43-ca4691e3185e" providerId="ADAL" clId="{FFCD5D4A-1C4A-4BDF-9202-2F28E0AF1E7F}" dt="2023-10-10T10:06:48.116" v="226" actId="108"/>
          <ac:spMkLst>
            <pc:docMk/>
            <pc:sldMk cId="1535139817" sldId="419"/>
            <ac:spMk id="26" creationId="{A97CFE23-6F95-4AE4-7BF6-15CACA1EFEF5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547606227" sldId="423"/>
        </pc:sldMkLst>
      </pc:sldChg>
      <pc:sldChg chg="del ord">
        <pc:chgData name="Gunther Gust" userId="61ea5fcd-8539-40ec-bf43-ca4691e3185e" providerId="ADAL" clId="{FFCD5D4A-1C4A-4BDF-9202-2F28E0AF1E7F}" dt="2023-10-10T10:11:41.163" v="409" actId="47"/>
        <pc:sldMkLst>
          <pc:docMk/>
          <pc:sldMk cId="2296356833" sldId="424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77761360" sldId="425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181775369" sldId="426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2761448358" sldId="427"/>
        </pc:sldMkLst>
      </pc:sldChg>
      <pc:sldChg chg="modSp mod ord">
        <pc:chgData name="Gunther Gust" userId="61ea5fcd-8539-40ec-bf43-ca4691e3185e" providerId="ADAL" clId="{FFCD5D4A-1C4A-4BDF-9202-2F28E0AF1E7F}" dt="2023-10-10T10:05:22.178" v="222"/>
        <pc:sldMkLst>
          <pc:docMk/>
          <pc:sldMk cId="305883533" sldId="428"/>
        </pc:sldMkLst>
        <pc:spChg chg="mod">
          <ac:chgData name="Gunther Gust" userId="61ea5fcd-8539-40ec-bf43-ca4691e3185e" providerId="ADAL" clId="{FFCD5D4A-1C4A-4BDF-9202-2F28E0AF1E7F}" dt="2023-10-10T10:05:19.749" v="220" actId="20577"/>
          <ac:spMkLst>
            <pc:docMk/>
            <pc:sldMk cId="305883533" sldId="428"/>
            <ac:spMk id="4" creationId="{2E523E48-9C1E-A982-981F-3D8F78BE3577}"/>
          </ac:spMkLst>
        </pc:spChg>
      </pc:sldChg>
      <pc:sldChg chg="modSp mod ord">
        <pc:chgData name="Gunther Gust" userId="61ea5fcd-8539-40ec-bf43-ca4691e3185e" providerId="ADAL" clId="{FFCD5D4A-1C4A-4BDF-9202-2F28E0AF1E7F}" dt="2023-10-10T10:10:55.917" v="404" actId="20577"/>
        <pc:sldMkLst>
          <pc:docMk/>
          <pc:sldMk cId="3393522812" sldId="429"/>
        </pc:sldMkLst>
        <pc:spChg chg="mod">
          <ac:chgData name="Gunther Gust" userId="61ea5fcd-8539-40ec-bf43-ca4691e3185e" providerId="ADAL" clId="{FFCD5D4A-1C4A-4BDF-9202-2F28E0AF1E7F}" dt="2023-10-10T10:10:55.917" v="404" actId="20577"/>
          <ac:spMkLst>
            <pc:docMk/>
            <pc:sldMk cId="3393522812" sldId="429"/>
            <ac:spMk id="4" creationId="{5E585B02-6147-7DBD-E939-DBB870F833F6}"/>
          </ac:spMkLst>
        </pc:spChg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3973024483" sldId="430"/>
        </pc:sldMkLst>
      </pc:sldChg>
      <pc:sldChg chg="del">
        <pc:chgData name="Gunther Gust" userId="61ea5fcd-8539-40ec-bf43-ca4691e3185e" providerId="ADAL" clId="{FFCD5D4A-1C4A-4BDF-9202-2F28E0AF1E7F}" dt="2023-10-10T10:11:41.163" v="409" actId="47"/>
        <pc:sldMkLst>
          <pc:docMk/>
          <pc:sldMk cId="1517046735" sldId="431"/>
        </pc:sldMkLst>
      </pc:sldChg>
      <pc:sldChg chg="modSp mod">
        <pc:chgData name="Gunther Gust" userId="61ea5fcd-8539-40ec-bf43-ca4691e3185e" providerId="ADAL" clId="{FFCD5D4A-1C4A-4BDF-9202-2F28E0AF1E7F}" dt="2023-10-17T07:42:50.539" v="946" actId="20577"/>
        <pc:sldMkLst>
          <pc:docMk/>
          <pc:sldMk cId="2129977208" sldId="432"/>
        </pc:sldMkLst>
        <pc:spChg chg="mod">
          <ac:chgData name="Gunther Gust" userId="61ea5fcd-8539-40ec-bf43-ca4691e3185e" providerId="ADAL" clId="{FFCD5D4A-1C4A-4BDF-9202-2F28E0AF1E7F}" dt="2023-10-17T07:42:50.539" v="946" actId="20577"/>
          <ac:spMkLst>
            <pc:docMk/>
            <pc:sldMk cId="2129977208" sldId="432"/>
            <ac:spMk id="2" creationId="{CDAC55D4-ABA1-22A7-39DF-C470F9C81830}"/>
          </ac:spMkLst>
        </pc:spChg>
      </pc:sldChg>
      <pc:sldChg chg="del">
        <pc:chgData name="Gunther Gust" userId="61ea5fcd-8539-40ec-bf43-ca4691e3185e" providerId="ADAL" clId="{FFCD5D4A-1C4A-4BDF-9202-2F28E0AF1E7F}" dt="2023-10-10T10:11:44.172" v="410" actId="47"/>
        <pc:sldMkLst>
          <pc:docMk/>
          <pc:sldMk cId="394351336" sldId="434"/>
        </pc:sldMkLst>
      </pc:sldChg>
      <pc:sldChg chg="del">
        <pc:chgData name="Gunther Gust" userId="61ea5fcd-8539-40ec-bf43-ca4691e3185e" providerId="ADAL" clId="{FFCD5D4A-1C4A-4BDF-9202-2F28E0AF1E7F}" dt="2023-10-10T10:19:43.502" v="900" actId="47"/>
        <pc:sldMkLst>
          <pc:docMk/>
          <pc:sldMk cId="3154330576" sldId="435"/>
        </pc:sldMkLst>
      </pc:sldChg>
      <pc:sldChg chg="addSp delSp modSp new mod modClrScheme chgLayout">
        <pc:chgData name="Gunther Gust" userId="61ea5fcd-8539-40ec-bf43-ca4691e3185e" providerId="ADAL" clId="{FFCD5D4A-1C4A-4BDF-9202-2F28E0AF1E7F}" dt="2023-10-10T10:03:41.342" v="83" actId="20577"/>
        <pc:sldMkLst>
          <pc:docMk/>
          <pc:sldMk cId="3183074241" sldId="436"/>
        </pc:sldMkLst>
        <pc:spChg chg="del">
          <ac:chgData name="Gunther Gust" userId="61ea5fcd-8539-40ec-bf43-ca4691e3185e" providerId="ADAL" clId="{FFCD5D4A-1C4A-4BDF-9202-2F28E0AF1E7F}" dt="2023-10-10T10:03:01.394" v="43" actId="700"/>
          <ac:spMkLst>
            <pc:docMk/>
            <pc:sldMk cId="3183074241" sldId="436"/>
            <ac:spMk id="2" creationId="{B25EE7A5-9512-1121-AAE7-A1EEC7E84375}"/>
          </ac:spMkLst>
        </pc:spChg>
        <pc:spChg chg="del mod ord">
          <ac:chgData name="Gunther Gust" userId="61ea5fcd-8539-40ec-bf43-ca4691e3185e" providerId="ADAL" clId="{FFCD5D4A-1C4A-4BDF-9202-2F28E0AF1E7F}" dt="2023-10-10T10:03:01.394" v="43" actId="700"/>
          <ac:spMkLst>
            <pc:docMk/>
            <pc:sldMk cId="3183074241" sldId="436"/>
            <ac:spMk id="3" creationId="{8E0E28EF-AEBD-3698-1501-0052B17AFE72}"/>
          </ac:spMkLst>
        </pc:spChg>
        <pc:spChg chg="add del mod ord">
          <ac:chgData name="Gunther Gust" userId="61ea5fcd-8539-40ec-bf43-ca4691e3185e" providerId="ADAL" clId="{FFCD5D4A-1C4A-4BDF-9202-2F28E0AF1E7F}" dt="2023-10-10T10:03:19.970" v="44" actId="700"/>
          <ac:spMkLst>
            <pc:docMk/>
            <pc:sldMk cId="3183074241" sldId="436"/>
            <ac:spMk id="4" creationId="{7C5A0893-DFFE-C0DD-CEEE-3FD584478CCE}"/>
          </ac:spMkLst>
        </pc:spChg>
        <pc:spChg chg="add mod ord">
          <ac:chgData name="Gunther Gust" userId="61ea5fcd-8539-40ec-bf43-ca4691e3185e" providerId="ADAL" clId="{FFCD5D4A-1C4A-4BDF-9202-2F28E0AF1E7F}" dt="2023-10-10T10:03:41.342" v="83" actId="20577"/>
          <ac:spMkLst>
            <pc:docMk/>
            <pc:sldMk cId="3183074241" sldId="436"/>
            <ac:spMk id="5" creationId="{FB8162C1-E967-9017-4AA8-C393BFD2DBFD}"/>
          </ac:spMkLst>
        </pc:spChg>
        <pc:spChg chg="add mod ord">
          <ac:chgData name="Gunther Gust" userId="61ea5fcd-8539-40ec-bf43-ca4691e3185e" providerId="ADAL" clId="{FFCD5D4A-1C4A-4BDF-9202-2F28E0AF1E7F}" dt="2023-10-10T10:03:34.148" v="48" actId="242"/>
          <ac:spMkLst>
            <pc:docMk/>
            <pc:sldMk cId="3183074241" sldId="436"/>
            <ac:spMk id="6" creationId="{39236EED-A95F-2389-AEB1-9CAEC1321825}"/>
          </ac:spMkLst>
        </pc:spChg>
      </pc:sldChg>
      <pc:sldChg chg="addSp delSp modSp new mod ord">
        <pc:chgData name="Gunther Gust" userId="61ea5fcd-8539-40ec-bf43-ca4691e3185e" providerId="ADAL" clId="{FFCD5D4A-1C4A-4BDF-9202-2F28E0AF1E7F}" dt="2023-10-16T11:51:24.559" v="937" actId="1076"/>
        <pc:sldMkLst>
          <pc:docMk/>
          <pc:sldMk cId="4052319150" sldId="437"/>
        </pc:sldMkLst>
        <pc:spChg chg="del">
          <ac:chgData name="Gunther Gust" userId="61ea5fcd-8539-40ec-bf43-ca4691e3185e" providerId="ADAL" clId="{FFCD5D4A-1C4A-4BDF-9202-2F28E0AF1E7F}" dt="2023-10-16T11:51:16.056" v="932" actId="478"/>
          <ac:spMkLst>
            <pc:docMk/>
            <pc:sldMk cId="4052319150" sldId="437"/>
            <ac:spMk id="2" creationId="{38659CE3-A363-E4E3-9956-CA77EBE83F5C}"/>
          </ac:spMkLst>
        </pc:spChg>
        <pc:spChg chg="mod">
          <ac:chgData name="Gunther Gust" userId="61ea5fcd-8539-40ec-bf43-ca4691e3185e" providerId="ADAL" clId="{FFCD5D4A-1C4A-4BDF-9202-2F28E0AF1E7F}" dt="2023-10-10T10:08:46.914" v="248" actId="20577"/>
          <ac:spMkLst>
            <pc:docMk/>
            <pc:sldMk cId="4052319150" sldId="437"/>
            <ac:spMk id="4" creationId="{EECC090E-7D16-0187-1496-FC027414BD97}"/>
          </ac:spMkLst>
        </pc:spChg>
        <pc:picChg chg="add mod">
          <ac:chgData name="Gunther Gust" userId="61ea5fcd-8539-40ec-bf43-ca4691e3185e" providerId="ADAL" clId="{FFCD5D4A-1C4A-4BDF-9202-2F28E0AF1E7F}" dt="2023-10-16T11:51:24.559" v="937" actId="1076"/>
          <ac:picMkLst>
            <pc:docMk/>
            <pc:sldMk cId="4052319150" sldId="437"/>
            <ac:picMk id="7" creationId="{BE27132A-1A0F-0BC5-7E21-69C929C4D4AF}"/>
          </ac:picMkLst>
        </pc:picChg>
      </pc:sldChg>
      <pc:sldChg chg="addSp modSp new mod ord">
        <pc:chgData name="Gunther Gust" userId="61ea5fcd-8539-40ec-bf43-ca4691e3185e" providerId="ADAL" clId="{FFCD5D4A-1C4A-4BDF-9202-2F28E0AF1E7F}" dt="2023-10-16T08:04:00.798" v="931"/>
        <pc:sldMkLst>
          <pc:docMk/>
          <pc:sldMk cId="2414682280" sldId="438"/>
        </pc:sldMkLst>
        <pc:spChg chg="mod">
          <ac:chgData name="Gunther Gust" userId="61ea5fcd-8539-40ec-bf43-ca4691e3185e" providerId="ADAL" clId="{FFCD5D4A-1C4A-4BDF-9202-2F28E0AF1E7F}" dt="2023-10-10T10:15:22.368" v="684" actId="20577"/>
          <ac:spMkLst>
            <pc:docMk/>
            <pc:sldMk cId="2414682280" sldId="438"/>
            <ac:spMk id="2" creationId="{DDB1437A-218A-6B1E-29D2-D47CE33B0B05}"/>
          </ac:spMkLst>
        </pc:spChg>
        <pc:spChg chg="mod">
          <ac:chgData name="Gunther Gust" userId="61ea5fcd-8539-40ec-bf43-ca4691e3185e" providerId="ADAL" clId="{FFCD5D4A-1C4A-4BDF-9202-2F28E0AF1E7F}" dt="2023-10-10T10:12:50.181" v="427" actId="20577"/>
          <ac:spMkLst>
            <pc:docMk/>
            <pc:sldMk cId="2414682280" sldId="438"/>
            <ac:spMk id="4" creationId="{79B92171-391B-31DA-BC57-C5499E0CC709}"/>
          </ac:spMkLst>
        </pc:spChg>
        <pc:spChg chg="add mod">
          <ac:chgData name="Gunther Gust" userId="61ea5fcd-8539-40ec-bf43-ca4691e3185e" providerId="ADAL" clId="{FFCD5D4A-1C4A-4BDF-9202-2F28E0AF1E7F}" dt="2023-10-10T10:16:00.583" v="713" actId="1076"/>
          <ac:spMkLst>
            <pc:docMk/>
            <pc:sldMk cId="2414682280" sldId="438"/>
            <ac:spMk id="8" creationId="{CB5607C8-7A1C-DAB5-FDEE-5A436D1DD4F3}"/>
          </ac:spMkLst>
        </pc:spChg>
        <pc:spChg chg="add mod">
          <ac:chgData name="Gunther Gust" userId="61ea5fcd-8539-40ec-bf43-ca4691e3185e" providerId="ADAL" clId="{FFCD5D4A-1C4A-4BDF-9202-2F28E0AF1E7F}" dt="2023-10-10T10:16:07.598" v="724" actId="20577"/>
          <ac:spMkLst>
            <pc:docMk/>
            <pc:sldMk cId="2414682280" sldId="438"/>
            <ac:spMk id="9" creationId="{3A51730C-DE0C-7CB5-608A-E20FCBA44D33}"/>
          </ac:spMkLst>
        </pc:spChg>
        <pc:cxnChg chg="add mod">
          <ac:chgData name="Gunther Gust" userId="61ea5fcd-8539-40ec-bf43-ca4691e3185e" providerId="ADAL" clId="{FFCD5D4A-1C4A-4BDF-9202-2F28E0AF1E7F}" dt="2023-10-10T10:15:31.687" v="686" actId="1076"/>
          <ac:cxnSpMkLst>
            <pc:docMk/>
            <pc:sldMk cId="2414682280" sldId="438"/>
            <ac:cxnSpMk id="7" creationId="{462A2D51-671E-8F43-26D7-B3EE422E7C8C}"/>
          </ac:cxnSpMkLst>
        </pc:cxnChg>
      </pc:sldChg>
      <pc:sldChg chg="addSp delSp modSp new mod">
        <pc:chgData name="Gunther Gust" userId="61ea5fcd-8539-40ec-bf43-ca4691e3185e" providerId="ADAL" clId="{FFCD5D4A-1C4A-4BDF-9202-2F28E0AF1E7F}" dt="2023-10-10T10:23:25.702" v="929" actId="20577"/>
        <pc:sldMkLst>
          <pc:docMk/>
          <pc:sldMk cId="1134868963" sldId="439"/>
        </pc:sldMkLst>
        <pc:spChg chg="del">
          <ac:chgData name="Gunther Gust" userId="61ea5fcd-8539-40ec-bf43-ca4691e3185e" providerId="ADAL" clId="{FFCD5D4A-1C4A-4BDF-9202-2F28E0AF1E7F}" dt="2023-10-10T10:23:20.324" v="916"/>
          <ac:spMkLst>
            <pc:docMk/>
            <pc:sldMk cId="1134868963" sldId="439"/>
            <ac:spMk id="2" creationId="{E93D928E-BF99-7A36-85F3-64F5187A381F}"/>
          </ac:spMkLst>
        </pc:spChg>
        <pc:spChg chg="mod">
          <ac:chgData name="Gunther Gust" userId="61ea5fcd-8539-40ec-bf43-ca4691e3185e" providerId="ADAL" clId="{FFCD5D4A-1C4A-4BDF-9202-2F28E0AF1E7F}" dt="2023-10-10T10:23:25.702" v="929" actId="20577"/>
          <ac:spMkLst>
            <pc:docMk/>
            <pc:sldMk cId="1134868963" sldId="439"/>
            <ac:spMk id="4" creationId="{B7ED677D-06A3-A16B-FE1D-D24C8DC59EC9}"/>
          </ac:spMkLst>
        </pc:spChg>
        <pc:picChg chg="add mod">
          <ac:chgData name="Gunther Gust" userId="61ea5fcd-8539-40ec-bf43-ca4691e3185e" providerId="ADAL" clId="{FFCD5D4A-1C4A-4BDF-9202-2F28E0AF1E7F}" dt="2023-10-10T10:23:20.324" v="916"/>
          <ac:picMkLst>
            <pc:docMk/>
            <pc:sldMk cId="1134868963" sldId="439"/>
            <ac:picMk id="1026" creationId="{BC963EAF-9306-BA29-3F17-227D5594B52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1.10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10/11/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C04BFF-B250-4F34-8513-350D55F32A5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898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5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5505B7-06B0-455E-A771-2886E2CB8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4"/>
            <a:ext cx="161925" cy="2137639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7124" y="3167166"/>
            <a:ext cx="3794876" cy="36908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8930-3129-4C8E-98C9-EF14ECB040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200" y="577778"/>
            <a:ext cx="2746375" cy="545863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6427" y="3479076"/>
            <a:ext cx="7378411" cy="4587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C8A71A-F804-4814-BF1D-FA7C56F36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27" y="1800224"/>
            <a:ext cx="7372316" cy="1578701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75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5505B7-06B0-455E-A771-2886E2CB8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4"/>
            <a:ext cx="161925" cy="2137639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7124" y="3167166"/>
            <a:ext cx="3794876" cy="36908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E78930-3129-4C8E-98C9-EF14ECB040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345" y="5785011"/>
            <a:ext cx="2465230" cy="489983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56427" y="3479076"/>
            <a:ext cx="7378411" cy="458787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C8A71A-F804-4814-BF1D-FA7C56F36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27" y="1800224"/>
            <a:ext cx="7372316" cy="1578701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03449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94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260439-4441-4B8C-ABE7-2F9DD29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1D5AE068-DD8C-4F4F-8163-2A9E2EC5AFFF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1CFB43-42B3-4864-ACBC-F323253784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02249A15-B925-406F-B454-789ADDD4B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9D11395-D320-4D1D-AA1E-E03FF4D626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9223" y="6395848"/>
            <a:ext cx="1439569" cy="28612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FA78E1B8-4266-4929-8261-8DD28ADB9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980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663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260439-4441-4B8C-ABE7-2F9DD2900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1D5AE068-DD8C-4F4F-8163-2A9E2EC5AFFF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02249A15-B925-406F-B454-789ADDD4B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FA78E1B8-4266-4929-8261-8DD28ADB9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2" y="512384"/>
            <a:ext cx="7533548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CA6B06-E268-4710-BDA4-EDF06B95B433}"/>
              </a:ext>
            </a:extLst>
          </p:cNvPr>
          <p:cNvSpPr>
            <a:spLocks/>
          </p:cNvSpPr>
          <p:nvPr userDrawn="1"/>
        </p:nvSpPr>
        <p:spPr>
          <a:xfrm>
            <a:off x="9973340" y="512384"/>
            <a:ext cx="2218660" cy="7165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5136B00-83E5-4F81-85A8-C5D95B68A5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079" y="708002"/>
            <a:ext cx="1609061" cy="319813"/>
          </a:xfrm>
          <a:prstGeom prst="rect">
            <a:avLst/>
          </a:prstGeom>
        </p:spPr>
      </p:pic>
      <p:sp>
        <p:nvSpPr>
          <p:cNvPr id="17" name="Fußzeilenplatzhalter 8">
            <a:extLst>
              <a:ext uri="{FF2B5EF4-FFF2-40B4-BE49-F238E27FC236}">
                <a16:creationId xmlns:a16="http://schemas.microsoft.com/office/drawing/2014/main" id="{F748CBE1-EA8E-418E-B881-40586BB0F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A9C953-C0B5-42C0-9248-C11ED8A805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525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A9C953-C0B5-42C0-9248-C11ED8A805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91AC898-36B2-4B98-A2DC-D151C2D2AA5C}"/>
              </a:ext>
            </a:extLst>
          </p:cNvPr>
          <p:cNvSpPr>
            <a:spLocks/>
          </p:cNvSpPr>
          <p:nvPr userDrawn="1"/>
        </p:nvSpPr>
        <p:spPr>
          <a:xfrm>
            <a:off x="7370618" y="0"/>
            <a:ext cx="482138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B80A73C-7F03-429C-8B3B-29B46B8F4C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9671" y="512384"/>
            <a:ext cx="4921535" cy="7165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BC01A1-04AC-4C48-8A7A-F52B6FF7BAAA}"/>
              </a:ext>
            </a:extLst>
          </p:cNvPr>
          <p:cNvGrpSpPr/>
          <p:nvPr userDrawn="1"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8" name="Pointer-half">
              <a:extLst>
                <a:ext uri="{FF2B5EF4-FFF2-40B4-BE49-F238E27FC236}">
                  <a16:creationId xmlns:a16="http://schemas.microsoft.com/office/drawing/2014/main" id="{893AE244-6259-4BEF-8640-5D5AAC3F62EF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E97E46-C798-4FDB-BF45-F213513348FD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topic 1&gt;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FF496F5-5011-49F6-AE45-DA049DC7D3B1}"/>
              </a:ext>
            </a:extLst>
          </p:cNvPr>
          <p:cNvGrpSpPr/>
          <p:nvPr userDrawn="1"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1" name="Pointer-half">
              <a:extLst>
                <a:ext uri="{FF2B5EF4-FFF2-40B4-BE49-F238E27FC236}">
                  <a16:creationId xmlns:a16="http://schemas.microsoft.com/office/drawing/2014/main" id="{52CD4C28-20F5-461D-B5A4-6687CC760C96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522E0F4-6245-4FA9-B195-B27419EAB100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topic 2&gt;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737800E-3903-4871-BC16-99C75CF85FFB}"/>
              </a:ext>
            </a:extLst>
          </p:cNvPr>
          <p:cNvGrpSpPr/>
          <p:nvPr userDrawn="1"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4" name="Pointer-half">
              <a:extLst>
                <a:ext uri="{FF2B5EF4-FFF2-40B4-BE49-F238E27FC236}">
                  <a16:creationId xmlns:a16="http://schemas.microsoft.com/office/drawing/2014/main" id="{E469000E-2BD4-42E8-9671-FCE991B269D9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111F375-4F4E-46AD-842D-C470692A085B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30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lt;…&gt;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4C1BE7C8-EC21-43D1-87FB-FE00546795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1400" y="6394312"/>
            <a:ext cx="1448946" cy="287989"/>
          </a:xfrm>
          <a:prstGeom prst="rect">
            <a:avLst/>
          </a:prstGeom>
        </p:spPr>
      </p:pic>
      <p:sp>
        <p:nvSpPr>
          <p:cNvPr id="18" name="Rechteck 11">
            <a:extLst>
              <a:ext uri="{FF2B5EF4-FFF2-40B4-BE49-F238E27FC236}">
                <a16:creationId xmlns:a16="http://schemas.microsoft.com/office/drawing/2014/main" id="{CCAA9E9F-1D94-4A7F-92D4-7A6231AE920D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oliennummernplatzhalter 12">
            <a:extLst>
              <a:ext uri="{FF2B5EF4-FFF2-40B4-BE49-F238E27FC236}">
                <a16:creationId xmlns:a16="http://schemas.microsoft.com/office/drawing/2014/main" id="{CF210F18-5FDE-4CAA-AFAF-41A49C38CC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ußzeilenplatzhalter 8">
            <a:extLst>
              <a:ext uri="{FF2B5EF4-FFF2-40B4-BE49-F238E27FC236}">
                <a16:creationId xmlns:a16="http://schemas.microsoft.com/office/drawing/2014/main" id="{9A584802-D750-4905-8B6F-E340E87DA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009597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BDD9DFB-6637-42F6-9A5F-732E7DE19E7E}"/>
              </a:ext>
            </a:extLst>
          </p:cNvPr>
          <p:cNvSpPr txBox="1">
            <a:spLocks/>
          </p:cNvSpPr>
          <p:nvPr userDrawn="1"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Session objectiv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33D94B-7261-4167-AA63-0202ED8574A3}"/>
              </a:ext>
            </a:extLst>
          </p:cNvPr>
          <p:cNvSpPr txBox="1"/>
          <p:nvPr userDrawn="1"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>
                <a:solidFill>
                  <a:schemeClr val="bg1"/>
                </a:solidFill>
              </a:rPr>
              <a:t>&lt;…&gt;</a:t>
            </a:r>
          </a:p>
        </p:txBody>
      </p:sp>
    </p:spTree>
    <p:extLst>
      <p:ext uri="{BB962C8B-B14F-4D97-AF65-F5344CB8AC3E}">
        <p14:creationId xmlns:p14="http://schemas.microsoft.com/office/powerpoint/2010/main" val="3029328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318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lnSpc>
                <a:spcPct val="100000"/>
              </a:lnSpc>
              <a:buClr>
                <a:srgbClr val="004389"/>
              </a:buClr>
              <a:defRPr sz="1600"/>
            </a:lvl2pPr>
            <a:lvl3pPr marL="80486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67CFBB64-7FF7-4BF9-902C-24C7E5C50FAA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76298A5F-C4A2-4FD9-B515-D88FEBB3D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00E9F-981C-4986-8F73-D2099640E5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9223" y="6395848"/>
            <a:ext cx="1439569" cy="28612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36BDD710-E24D-4F31-935A-81FD014A9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Fußzeilenplatzhalter 8">
            <a:extLst>
              <a:ext uri="{FF2B5EF4-FFF2-40B4-BE49-F238E27FC236}">
                <a16:creationId xmlns:a16="http://schemas.microsoft.com/office/drawing/2014/main" id="{234BC13D-563D-400A-9C9E-CFC7B29D8E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906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lnSpc>
                <a:spcPct val="100000"/>
              </a:lnSpc>
              <a:buClr>
                <a:srgbClr val="004389"/>
              </a:buClr>
              <a:defRPr sz="1600"/>
            </a:lvl2pPr>
            <a:lvl3pPr marL="80486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67CFBB64-7FF7-4BF9-902C-24C7E5C50FAA}"/>
              </a:ext>
            </a:extLst>
          </p:cNvPr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liennummernplatzhalter 12">
            <a:extLst>
              <a:ext uri="{FF2B5EF4-FFF2-40B4-BE49-F238E27FC236}">
                <a16:creationId xmlns:a16="http://schemas.microsoft.com/office/drawing/2014/main" id="{76298A5F-C4A2-4FD9-B515-D88FEBB3D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F7EFE4B8-83C3-4DE2-9E4F-B0460F89B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2" y="512384"/>
            <a:ext cx="7533548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5D0FAF-97DA-4986-BCAB-0EF2FF0F6FE1}"/>
              </a:ext>
            </a:extLst>
          </p:cNvPr>
          <p:cNvSpPr>
            <a:spLocks/>
          </p:cNvSpPr>
          <p:nvPr userDrawn="1"/>
        </p:nvSpPr>
        <p:spPr>
          <a:xfrm>
            <a:off x="9973340" y="512384"/>
            <a:ext cx="2218660" cy="7165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DBCAA1-58C8-4B45-98AB-BE766A55A1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079" y="708002"/>
            <a:ext cx="1609061" cy="319813"/>
          </a:xfrm>
          <a:prstGeom prst="rect">
            <a:avLst/>
          </a:prstGeom>
        </p:spPr>
      </p:pic>
      <p:sp>
        <p:nvSpPr>
          <p:cNvPr id="16" name="Fußzeilenplatzhalter 8">
            <a:extLst>
              <a:ext uri="{FF2B5EF4-FFF2-40B4-BE49-F238E27FC236}">
                <a16:creationId xmlns:a16="http://schemas.microsoft.com/office/drawing/2014/main" id="{1091ED32-90A0-4A18-A949-A3D59A8EB1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319383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84056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51" imgH="450" progId="TCLayout.ActiveDocument.1">
                  <p:embed/>
                </p:oleObj>
              </mc:Choice>
              <mc:Fallback>
                <p:oleObj name="think-cell Slide" r:id="rId11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C934F-FA50-4DB7-B4DC-D62CB9D7A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890555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5" r:id="rId3"/>
    <p:sldLayoutId id="2147483654" r:id="rId4"/>
    <p:sldLayoutId id="2147483658" r:id="rId5"/>
    <p:sldLayoutId id="2147483650" r:id="rId6"/>
    <p:sldLayoutId id="214748365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A49910-D0EF-4B54-8B25-8340DBB3C3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7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A49910-D0EF-4B54-8B25-8340DBB3C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9657CF-76FF-4FAB-A313-9709E22934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Topics in Data Science 2 (TDS2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56F436-3893-4275-9D76-0895D7B9C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4000" noProof="0" dirty="0"/>
              <a:t>1. Introduction</a:t>
            </a:r>
          </a:p>
        </p:txBody>
      </p:sp>
    </p:spTree>
    <p:extLst>
      <p:ext uri="{BB962C8B-B14F-4D97-AF65-F5344CB8AC3E}">
        <p14:creationId xmlns:p14="http://schemas.microsoft.com/office/powerpoint/2010/main" val="2334880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19BFC56-2C5D-2996-6F9D-69FD313463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err="1"/>
              <a:t>Hiwi</a:t>
            </a:r>
            <a:r>
              <a:rPr lang="en-US" b="1" dirty="0"/>
              <a:t> jobs </a:t>
            </a:r>
            <a:r>
              <a:rPr lang="en-US" dirty="0"/>
              <a:t>(Bachelor‘s and Master‘s level)</a:t>
            </a:r>
          </a:p>
          <a:p>
            <a:pPr lvl="1"/>
            <a:r>
              <a:rPr lang="en-US" dirty="0"/>
              <a:t>Women are particularly encouraged to apply (see also </a:t>
            </a:r>
            <a:r>
              <a:rPr lang="en-US" dirty="0" err="1"/>
              <a:t>Women@WIWI</a:t>
            </a:r>
            <a:r>
              <a:rPr lang="en-US" dirty="0"/>
              <a:t> program)</a:t>
            </a:r>
          </a:p>
          <a:p>
            <a:r>
              <a:rPr lang="en-US" b="1" dirty="0"/>
              <a:t>Seminar thesis</a:t>
            </a:r>
          </a:p>
          <a:p>
            <a:pPr lvl="1"/>
            <a:r>
              <a:rPr lang="en-US" dirty="0"/>
              <a:t>Bachelor seminar</a:t>
            </a:r>
          </a:p>
          <a:p>
            <a:pPr lvl="1"/>
            <a:r>
              <a:rPr lang="en-US" dirty="0"/>
              <a:t>Master seminar</a:t>
            </a:r>
          </a:p>
          <a:p>
            <a:pPr lvl="1"/>
            <a:r>
              <a:rPr lang="en-US" dirty="0"/>
              <a:t>Project seminar</a:t>
            </a:r>
          </a:p>
          <a:p>
            <a:r>
              <a:rPr lang="en-US" b="1" dirty="0"/>
              <a:t>Bachelor‘s thesis</a:t>
            </a:r>
          </a:p>
          <a:p>
            <a:r>
              <a:rPr lang="en-US" b="1" dirty="0"/>
              <a:t>Master‘s thesis</a:t>
            </a:r>
          </a:p>
          <a:p>
            <a:pPr lvl="1"/>
            <a:r>
              <a:rPr lang="en-US" dirty="0"/>
              <a:t>Scholarships available</a:t>
            </a:r>
          </a:p>
          <a:p>
            <a:r>
              <a:rPr lang="en-US" b="1" dirty="0"/>
              <a:t>Doctorat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pplications are accepted on an on-going basi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A86ADD-E08D-C111-E644-5F7DD2376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FEE662A-397C-54E3-3FE0-1E39681A6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ay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u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1DCAE1-DF2C-16E9-1B11-2177D9F91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964621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DAC55D4-ABA1-22A7-39DF-C470F9C818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Lecture</a:t>
            </a:r>
          </a:p>
          <a:p>
            <a:pPr lvl="1"/>
            <a:r>
              <a:rPr lang="en-US" dirty="0"/>
              <a:t>Mondays 14:00 – 16:00</a:t>
            </a:r>
          </a:p>
          <a:p>
            <a:pPr lvl="1"/>
            <a:r>
              <a:rPr lang="en-US" dirty="0"/>
              <a:t>Theoretical foundations</a:t>
            </a:r>
          </a:p>
          <a:p>
            <a:pPr lvl="1"/>
            <a:r>
              <a:rPr lang="en-US" dirty="0"/>
              <a:t>Implementation examples using Python </a:t>
            </a:r>
          </a:p>
          <a:p>
            <a:r>
              <a:rPr lang="en-US" b="1" dirty="0"/>
              <a:t>Exercis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Directly after lecture: 16:00 – 18:00</a:t>
            </a:r>
          </a:p>
          <a:p>
            <a:pPr lvl="1"/>
            <a:r>
              <a:rPr lang="en-US" dirty="0"/>
              <a:t>Weekly assignments to be solved on your own </a:t>
            </a:r>
          </a:p>
          <a:p>
            <a:pPr lvl="2"/>
            <a:r>
              <a:rPr lang="en-US" dirty="0"/>
              <a:t>Published After Lecture</a:t>
            </a:r>
          </a:p>
          <a:p>
            <a:pPr lvl="2"/>
            <a:r>
              <a:rPr lang="en-US" dirty="0"/>
              <a:t>1.5 weeks later</a:t>
            </a:r>
          </a:p>
          <a:p>
            <a:pPr lvl="2"/>
            <a:r>
              <a:rPr lang="en-US" dirty="0"/>
              <a:t>Complete 4 out of 5 assignments to be eligible for final project</a:t>
            </a:r>
          </a:p>
          <a:p>
            <a:r>
              <a:rPr lang="en-US" b="1" dirty="0"/>
              <a:t>Bonus </a:t>
            </a:r>
            <a:r>
              <a:rPr lang="en-US" dirty="0"/>
              <a:t>(0,3 bonus for the exam)</a:t>
            </a:r>
            <a:endParaRPr lang="en-US" b="1" dirty="0"/>
          </a:p>
          <a:p>
            <a:pPr lvl="1"/>
            <a:r>
              <a:rPr lang="en-US" dirty="0"/>
              <a:t>Complete 5 out of 5 assignments</a:t>
            </a:r>
          </a:p>
          <a:p>
            <a:pPr lvl="1"/>
            <a:r>
              <a:rPr lang="en-US" dirty="0"/>
              <a:t>Participate in the </a:t>
            </a:r>
            <a:r>
              <a:rPr lang="en-US" dirty="0" err="1"/>
              <a:t>WueCampus</a:t>
            </a:r>
            <a:r>
              <a:rPr lang="en-US" dirty="0"/>
              <a:t> forum (or Discord) within the first 4 weeks of the course</a:t>
            </a:r>
          </a:p>
          <a:p>
            <a:r>
              <a:rPr lang="en-US" b="1" dirty="0"/>
              <a:t>Final project</a:t>
            </a:r>
          </a:p>
          <a:p>
            <a:pPr lvl="1"/>
            <a:r>
              <a:rPr lang="en-US" dirty="0"/>
              <a:t>Work on a real-world problem set</a:t>
            </a:r>
          </a:p>
          <a:p>
            <a:pPr lvl="1"/>
            <a:r>
              <a:rPr lang="en-US" dirty="0"/>
              <a:t>Groups of 3 student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6A84E1-AC37-D99F-0E1B-C538E98EA0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1AA64B0-4541-C29A-576A-224339F31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urse </a:t>
            </a:r>
            <a:r>
              <a:rPr lang="de-DE" dirty="0" err="1"/>
              <a:t>Organizatio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22DFB-CBED-7A02-08AD-3913D973D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</p:spTree>
    <p:extLst>
      <p:ext uri="{BB962C8B-B14F-4D97-AF65-F5344CB8AC3E}">
        <p14:creationId xmlns:p14="http://schemas.microsoft.com/office/powerpoint/2010/main" val="2129977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B6D930-3392-CCE3-E2F7-538C9D1FB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E523E48-9C1E-A982-981F-3D8F78BE3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his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introduces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</a:t>
            </a:r>
            <a:r>
              <a:rPr lang="de-DE" dirty="0" err="1"/>
              <a:t>tools</a:t>
            </a:r>
            <a:r>
              <a:rPr lang="de-DE" dirty="0"/>
              <a:t>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methodologies</a:t>
            </a:r>
            <a:r>
              <a:rPr lang="de-DE" dirty="0"/>
              <a:t> in an </a:t>
            </a:r>
            <a:r>
              <a:rPr lang="de-DE" dirty="0" err="1"/>
              <a:t>applied</a:t>
            </a:r>
            <a:r>
              <a:rPr lang="de-DE" dirty="0"/>
              <a:t> </a:t>
            </a:r>
            <a:r>
              <a:rPr lang="de-DE" dirty="0" err="1"/>
              <a:t>manner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53DB5C-F2F3-4C02-56D0-6A2F22C11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4098" name="Picture 2" descr="Harvard Business Review, October 2012">
            <a:extLst>
              <a:ext uri="{FF2B5EF4-FFF2-40B4-BE49-F238E27FC236}">
                <a16:creationId xmlns:a16="http://schemas.microsoft.com/office/drawing/2014/main" id="{2779B262-5B98-80AE-E27F-B6BE16F77B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84"/>
          <a:stretch/>
        </p:blipFill>
        <p:spPr bwMode="auto">
          <a:xfrm>
            <a:off x="2571750" y="1549174"/>
            <a:ext cx="7048500" cy="398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883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9236EED-A95F-2389-AEB1-9CAEC13218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 foundations,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rameworks and applications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of the emerging field of data scie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sign, implement, and evaluate the core algorithms underlying an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end-to-end data science workflow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, including data import, analysis, and presentation of inform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Leverage the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ython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application programming interface (API) ecosystem and data infrastructure that supports data acquisition, storage, retrieval and analysi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he application of a data-based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nalytical approach</a:t>
            </a: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 to identify and solve problem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mplementation and execution skills for </a:t>
            </a:r>
            <a:r>
              <a:rPr lang="en-US" b="1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ata-driven business analytics</a:t>
            </a:r>
            <a:endParaRPr lang="en-US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8162C1-E967-9017-4AA8-C393BFD2D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arning </a:t>
            </a:r>
            <a:r>
              <a:rPr lang="de-DE" dirty="0" err="1"/>
              <a:t>objectiv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our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074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DB1437A-218A-6B1E-29D2-D47CE33B0B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8752" y="1396999"/>
            <a:ext cx="9130039" cy="4735511"/>
          </a:xfrm>
        </p:spPr>
        <p:txBody>
          <a:bodyPr>
            <a:normAutofit lnSpcReduction="10000"/>
          </a:bodyPr>
          <a:lstStyle/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ntroduction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,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Jupyte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Notebooks, Version Control (</a:t>
            </a:r>
            <a:r>
              <a:rPr lang="de-DE" b="1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oday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)</a:t>
            </a:r>
          </a:p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scriptive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Analytics</a:t>
            </a:r>
          </a:p>
          <a:p>
            <a:pPr algn="l">
              <a:buFont typeface="+mj-lt"/>
              <a:buAutoNum type="arabicPeriod"/>
            </a:pP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Machine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Introduction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eature Engineering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on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abula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Data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o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Computer Vision</a:t>
            </a:r>
          </a:p>
          <a:p>
            <a:pPr algn="l">
              <a:buFont typeface="+mj-lt"/>
              <a:buAutoNum type="arabicPeriod"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Deep Learning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for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Image Segmentation,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Geocoding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&amp;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Capstone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Project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ata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to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roduction</a:t>
            </a:r>
            <a:endParaRPr lang="de-DE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Deep Learning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o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Natural Language Processing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NLP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with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Huggingface</a:t>
            </a:r>
            <a:endParaRPr lang="de-DE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G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uest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lecture</a:t>
            </a:r>
            <a:endParaRPr lang="de-DE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algn="l">
              <a:buFont typeface="+mj-lt"/>
              <a:buAutoNum type="arabicPeriod"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Group Work on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Capstone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Project</a:t>
            </a:r>
          </a:p>
          <a:p>
            <a:pPr algn="l">
              <a:buFont typeface="+mj-lt"/>
              <a:buAutoNum type="arabicPeriod"/>
            </a:pP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Final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presentations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(End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of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de-DE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semester</a:t>
            </a:r>
            <a:r>
              <a:rPr lang="de-DE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C5C7AB7-A6B2-0C9D-5480-A59CE5243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9B92171-391B-31DA-BC57-C5499E0CC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urse Schedu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DDBEAA-C5B1-A8CB-F4D7-FCFC87E1A3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2A2D51-671E-8F43-26D7-B3EE422E7C8C}"/>
              </a:ext>
            </a:extLst>
          </p:cNvPr>
          <p:cNvCxnSpPr/>
          <p:nvPr/>
        </p:nvCxnSpPr>
        <p:spPr>
          <a:xfrm>
            <a:off x="645458" y="4840942"/>
            <a:ext cx="35320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CB5607C8-7A1C-DAB5-FDEE-5A436D1DD4F3}"/>
              </a:ext>
            </a:extLst>
          </p:cNvPr>
          <p:cNvSpPr txBox="1">
            <a:spLocks/>
          </p:cNvSpPr>
          <p:nvPr/>
        </p:nvSpPr>
        <p:spPr>
          <a:xfrm>
            <a:off x="713209" y="2676662"/>
            <a:ext cx="3765177" cy="71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4389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4389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48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79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46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Oct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– </a:t>
            </a:r>
            <a:r>
              <a:rPr lang="de-DE" dirty="0" err="1">
                <a:solidFill>
                  <a:srgbClr val="212121"/>
                </a:solidFill>
                <a:latin typeface="Roboto" panose="02000000000000000000" pitchFamily="2" charset="0"/>
              </a:rPr>
              <a:t>Dec</a:t>
            </a: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 </a:t>
            </a: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3A51730C-DE0C-7CB5-608A-E20FCBA44D33}"/>
              </a:ext>
            </a:extLst>
          </p:cNvPr>
          <p:cNvSpPr txBox="1">
            <a:spLocks/>
          </p:cNvSpPr>
          <p:nvPr/>
        </p:nvSpPr>
        <p:spPr>
          <a:xfrm>
            <a:off x="645458" y="5183074"/>
            <a:ext cx="3765177" cy="71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4389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4389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48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79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4461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solidFill>
                  <a:srgbClr val="212121"/>
                </a:solidFill>
                <a:latin typeface="Roboto" panose="02000000000000000000" pitchFamily="2" charset="0"/>
              </a:rPr>
              <a:t>Jan &amp; Feb</a:t>
            </a:r>
          </a:p>
        </p:txBody>
      </p:sp>
    </p:spTree>
    <p:extLst>
      <p:ext uri="{BB962C8B-B14F-4D97-AF65-F5344CB8AC3E}">
        <p14:creationId xmlns:p14="http://schemas.microsoft.com/office/powerpoint/2010/main" val="2414682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751C882-2DBA-975B-8EE3-0F8A49AD6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7ED677D-06A3-A16B-FE1D-D24C8DC59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Python?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E540AA-9311-9A49-0027-787136549C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C963EAF-9306-BA29-3F17-227D5594B52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788" y="1397000"/>
            <a:ext cx="7629437" cy="473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4868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0FF58F-9FDA-2402-0BFC-3CFC010C79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1AD284E-3A13-794F-2A61-FE81D3F76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The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rela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cours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3 </a:t>
            </a:r>
            <a:r>
              <a:rPr lang="de-DE" dirty="0" err="1"/>
              <a:t>teaching</a:t>
            </a:r>
            <a:r>
              <a:rPr lang="de-DE" dirty="0"/>
              <a:t> </a:t>
            </a:r>
            <a:r>
              <a:rPr lang="de-DE" dirty="0" err="1"/>
              <a:t>program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3B40D1-D73D-CC59-D690-C05832D774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2B21B93-B776-84A7-1FA5-FBC7B03EEA8E}"/>
              </a:ext>
            </a:extLst>
          </p:cNvPr>
          <p:cNvGrpSpPr/>
          <p:nvPr/>
        </p:nvGrpSpPr>
        <p:grpSpPr>
          <a:xfrm>
            <a:off x="432000" y="1371686"/>
            <a:ext cx="10654402" cy="4876799"/>
            <a:chOff x="-268866" y="-634172"/>
            <a:chExt cx="12476346" cy="7802559"/>
          </a:xfrm>
        </p:grpSpPr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DFC60119-BEAD-9CEB-7F46-6207240A2DFB}"/>
                </a:ext>
              </a:extLst>
            </p:cNvPr>
            <p:cNvSpPr txBox="1"/>
            <p:nvPr/>
          </p:nvSpPr>
          <p:spPr>
            <a:xfrm rot="16200000">
              <a:off x="-993126" y="5524862"/>
              <a:ext cx="2061213" cy="6126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/>
                <a:t>Theory &amp; methods</a:t>
              </a:r>
            </a:p>
          </p:txBody>
        </p:sp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44B03287-623A-E69D-4DB6-DBEEBEEABF23}"/>
                </a:ext>
              </a:extLst>
            </p:cNvPr>
            <p:cNvSpPr txBox="1"/>
            <p:nvPr/>
          </p:nvSpPr>
          <p:spPr>
            <a:xfrm rot="16200000">
              <a:off x="-1029396" y="2820047"/>
              <a:ext cx="2090055" cy="36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1" dirty="0"/>
                <a:t>Applications</a:t>
              </a:r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92BDA3B5-F227-9C97-B68A-37F8FDEDF540}"/>
                </a:ext>
              </a:extLst>
            </p:cNvPr>
            <p:cNvSpPr/>
            <p:nvPr/>
          </p:nvSpPr>
          <p:spPr>
            <a:xfrm>
              <a:off x="8796886" y="5983088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Data Science in Economics and Business</a:t>
              </a:r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B5FA646E-0240-9827-B2CF-77EBE78D3D5D}"/>
                </a:ext>
              </a:extLst>
            </p:cNvPr>
            <p:cNvSpPr/>
            <p:nvPr/>
          </p:nvSpPr>
          <p:spPr>
            <a:xfrm>
              <a:off x="8773407" y="-277876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Topics in Data Science 2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AD5095F1-CEBB-9BFC-0B17-23CC721A475A}"/>
                </a:ext>
              </a:extLst>
            </p:cNvPr>
            <p:cNvSpPr/>
            <p:nvPr/>
          </p:nvSpPr>
          <p:spPr>
            <a:xfrm>
              <a:off x="8796886" y="5052093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Decision Support Systems</a:t>
              </a:r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F8CD6666-FBCB-3056-E4C5-67E995501FDC}"/>
                </a:ext>
              </a:extLst>
            </p:cNvPr>
            <p:cNvSpPr/>
            <p:nvPr/>
          </p:nvSpPr>
          <p:spPr>
            <a:xfrm>
              <a:off x="7027569" y="5983088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Analytical Information Systems </a:t>
              </a:r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A19500DE-353E-701A-B5A5-550567C188CC}"/>
                </a:ext>
              </a:extLst>
            </p:cNvPr>
            <p:cNvSpPr/>
            <p:nvPr/>
          </p:nvSpPr>
          <p:spPr>
            <a:xfrm>
              <a:off x="7045331" y="-290906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Enterprise AI</a:t>
              </a: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B104A4C5-B0DF-711A-9AE4-D2599D88CFF2}"/>
                </a:ext>
              </a:extLst>
            </p:cNvPr>
            <p:cNvSpPr/>
            <p:nvPr/>
          </p:nvSpPr>
          <p:spPr>
            <a:xfrm>
              <a:off x="1927742" y="5119391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lanen</a:t>
              </a:r>
              <a:r>
                <a:rPr lang="en-US" sz="1100" dirty="0">
                  <a:solidFill>
                    <a:schemeClr val="tx1"/>
                  </a:solidFill>
                </a:rPr>
                <a:t> und </a:t>
              </a:r>
              <a:r>
                <a:rPr lang="en-US" sz="1100" dirty="0" err="1">
                  <a:solidFill>
                    <a:schemeClr val="tx1"/>
                  </a:solidFill>
                </a:rPr>
                <a:t>Entscheiden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4FE2020B-777C-E749-0218-91159F4890E2}"/>
                </a:ext>
              </a:extLst>
            </p:cNvPr>
            <p:cNvSpPr/>
            <p:nvPr/>
          </p:nvSpPr>
          <p:spPr>
            <a:xfrm>
              <a:off x="1927741" y="5962086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Datenmanagement</a:t>
              </a:r>
              <a:r>
                <a:rPr lang="en-US" sz="1100" dirty="0">
                  <a:solidFill>
                    <a:schemeClr val="tx1"/>
                  </a:solidFill>
                </a:rPr>
                <a:t> und -</a:t>
              </a:r>
              <a:r>
                <a:rPr lang="en-US" sz="1100" dirty="0" err="1">
                  <a:solidFill>
                    <a:schemeClr val="tx1"/>
                  </a:solidFill>
                </a:rPr>
                <a:t>analyse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16" name="Rectangle 12">
              <a:extLst>
                <a:ext uri="{FF2B5EF4-FFF2-40B4-BE49-F238E27FC236}">
                  <a16:creationId xmlns:a16="http://schemas.microsoft.com/office/drawing/2014/main" id="{8ECCBD74-FCFC-5B65-C97B-5908ECC8CB1E}"/>
                </a:ext>
              </a:extLst>
            </p:cNvPr>
            <p:cNvSpPr/>
            <p:nvPr/>
          </p:nvSpPr>
          <p:spPr>
            <a:xfrm>
              <a:off x="3752516" y="5962086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Primer in Data Science</a:t>
              </a: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8D28CB31-A5D9-70F3-DA89-EFFCE2DF6AE5}"/>
                </a:ext>
              </a:extLst>
            </p:cNvPr>
            <p:cNvSpPr/>
            <p:nvPr/>
          </p:nvSpPr>
          <p:spPr>
            <a:xfrm>
              <a:off x="1915201" y="-386578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anagerial Problem Solving </a:t>
              </a:r>
            </a:p>
          </p:txBody>
        </p:sp>
        <p:sp>
          <p:nvSpPr>
            <p:cNvPr id="18" name="Rectangle 14">
              <a:extLst>
                <a:ext uri="{FF2B5EF4-FFF2-40B4-BE49-F238E27FC236}">
                  <a16:creationId xmlns:a16="http://schemas.microsoft.com/office/drawing/2014/main" id="{07ED7B8C-0F28-DC6E-1A09-560012586129}"/>
                </a:ext>
              </a:extLst>
            </p:cNvPr>
            <p:cNvSpPr/>
            <p:nvPr/>
          </p:nvSpPr>
          <p:spPr>
            <a:xfrm>
              <a:off x="1927741" y="2981143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Vorstände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  <a:r>
                <a:rPr lang="en-US" sz="1100" dirty="0" err="1">
                  <a:solidFill>
                    <a:schemeClr val="tx1"/>
                  </a:solidFill>
                </a:rPr>
                <a:t>berich</a:t>
              </a:r>
              <a:r>
                <a:rPr lang="en-US" sz="1100" dirty="0">
                  <a:solidFill>
                    <a:schemeClr val="tx1"/>
                  </a:solidFill>
                </a:rPr>
                <a:t>-ten </a:t>
              </a:r>
              <a:r>
                <a:rPr lang="en-US" sz="1100" dirty="0" err="1">
                  <a:solidFill>
                    <a:schemeClr val="tx1"/>
                  </a:solidFill>
                </a:rPr>
                <a:t>aus</a:t>
              </a:r>
              <a:r>
                <a:rPr lang="en-US" sz="1100" dirty="0">
                  <a:solidFill>
                    <a:schemeClr val="tx1"/>
                  </a:solidFill>
                </a:rPr>
                <a:t> der Praxis </a:t>
              </a:r>
            </a:p>
          </p:txBody>
        </p:sp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98339E00-02AD-C8B3-84FC-3C097809FA85}"/>
                </a:ext>
              </a:extLst>
            </p:cNvPr>
            <p:cNvSpPr/>
            <p:nvPr/>
          </p:nvSpPr>
          <p:spPr>
            <a:xfrm>
              <a:off x="10535434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Global Logistics &amp; Supply Chain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6">
              <a:extLst>
                <a:ext uri="{FF2B5EF4-FFF2-40B4-BE49-F238E27FC236}">
                  <a16:creationId xmlns:a16="http://schemas.microsoft.com/office/drawing/2014/main" id="{BED9A3CD-DCAD-2B01-7AB5-756B8CC1C761}"/>
                </a:ext>
              </a:extLst>
            </p:cNvPr>
            <p:cNvSpPr/>
            <p:nvPr/>
          </p:nvSpPr>
          <p:spPr>
            <a:xfrm>
              <a:off x="7027569" y="5070454"/>
              <a:ext cx="1672046" cy="711816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Managerial Analytics &amp; Decision Making</a:t>
              </a:r>
            </a:p>
          </p:txBody>
        </p:sp>
        <p:sp>
          <p:nvSpPr>
            <p:cNvPr id="21" name="Rectangle 17">
              <a:extLst>
                <a:ext uri="{FF2B5EF4-FFF2-40B4-BE49-F238E27FC236}">
                  <a16:creationId xmlns:a16="http://schemas.microsoft.com/office/drawing/2014/main" id="{BB432F44-D593-BBCB-EDF7-F8488355BE4B}"/>
                </a:ext>
              </a:extLst>
            </p:cNvPr>
            <p:cNvSpPr/>
            <p:nvPr/>
          </p:nvSpPr>
          <p:spPr>
            <a:xfrm>
              <a:off x="8783246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dv. Operations &amp; Logistics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2" name="Rectangle 18">
              <a:extLst>
                <a:ext uri="{FF2B5EF4-FFF2-40B4-BE49-F238E27FC236}">
                  <a16:creationId xmlns:a16="http://schemas.microsoft.com/office/drawing/2014/main" id="{09185B51-FB25-7895-ACE3-EEC5A1CE7065}"/>
                </a:ext>
              </a:extLst>
            </p:cNvPr>
            <p:cNvSpPr/>
            <p:nvPr/>
          </p:nvSpPr>
          <p:spPr>
            <a:xfrm>
              <a:off x="7027449" y="337086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trategic </a:t>
              </a:r>
              <a:r>
                <a:rPr lang="en-US" sz="1100" dirty="0" err="1">
                  <a:solidFill>
                    <a:schemeClr val="tx1"/>
                  </a:solidFill>
                </a:rPr>
                <a:t>Mgmt</a:t>
              </a:r>
              <a:r>
                <a:rPr lang="en-US" sz="1100" dirty="0">
                  <a:solidFill>
                    <a:schemeClr val="tx1"/>
                  </a:solidFill>
                </a:rPr>
                <a:t> of Glob Supply Chains</a:t>
              </a:r>
            </a:p>
          </p:txBody>
        </p:sp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id="{E2748675-7C8F-57F8-8474-AF2EE9E5899C}"/>
                </a:ext>
              </a:extLst>
            </p:cNvPr>
            <p:cNvSpPr/>
            <p:nvPr/>
          </p:nvSpPr>
          <p:spPr>
            <a:xfrm>
              <a:off x="3760583" y="5119391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imulation</a:t>
              </a:r>
            </a:p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for Decision Making</a:t>
              </a:r>
            </a:p>
          </p:txBody>
        </p:sp>
        <p:sp>
          <p:nvSpPr>
            <p:cNvPr id="24" name="Rectangle 20">
              <a:extLst>
                <a:ext uri="{FF2B5EF4-FFF2-40B4-BE49-F238E27FC236}">
                  <a16:creationId xmlns:a16="http://schemas.microsoft.com/office/drawing/2014/main" id="{13D7F35F-BC6F-1062-5439-B2069513F242}"/>
                </a:ext>
              </a:extLst>
            </p:cNvPr>
            <p:cNvSpPr/>
            <p:nvPr/>
          </p:nvSpPr>
          <p:spPr>
            <a:xfrm>
              <a:off x="1915201" y="41085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Programmieren</a:t>
              </a:r>
              <a:r>
                <a:rPr lang="en-US" sz="1100" dirty="0">
                  <a:solidFill>
                    <a:schemeClr val="tx1"/>
                  </a:solidFill>
                </a:rPr>
                <a:t> für </a:t>
              </a:r>
              <a:r>
                <a:rPr lang="en-US" sz="1100" dirty="0" err="1">
                  <a:solidFill>
                    <a:schemeClr val="tx1"/>
                  </a:solidFill>
                </a:rPr>
                <a:t>WiWis</a:t>
              </a:r>
              <a:r>
                <a:rPr lang="en-US" sz="11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5" name="Rectangle 21">
              <a:extLst>
                <a:ext uri="{FF2B5EF4-FFF2-40B4-BE49-F238E27FC236}">
                  <a16:creationId xmlns:a16="http://schemas.microsoft.com/office/drawing/2014/main" id="{BEB4D34F-5C21-7611-C88D-079F07201A97}"/>
                </a:ext>
              </a:extLst>
            </p:cNvPr>
            <p:cNvSpPr/>
            <p:nvPr/>
          </p:nvSpPr>
          <p:spPr>
            <a:xfrm>
              <a:off x="3752516" y="2981143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mart Cities &amp; Spatial Analytics</a:t>
              </a:r>
            </a:p>
          </p:txBody>
        </p:sp>
        <p:sp>
          <p:nvSpPr>
            <p:cNvPr id="26" name="Rectangle 22">
              <a:extLst>
                <a:ext uri="{FF2B5EF4-FFF2-40B4-BE49-F238E27FC236}">
                  <a16:creationId xmlns:a16="http://schemas.microsoft.com/office/drawing/2014/main" id="{A97CFE23-6F95-4AE4-7BF6-15CACA1EFEF5}"/>
                </a:ext>
              </a:extLst>
            </p:cNvPr>
            <p:cNvSpPr/>
            <p:nvPr/>
          </p:nvSpPr>
          <p:spPr>
            <a:xfrm rot="5400000">
              <a:off x="2602555" y="2807271"/>
              <a:ext cx="7099514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Data Driven Decisions in Practice </a:t>
              </a:r>
            </a:p>
          </p:txBody>
        </p:sp>
        <p:sp>
          <p:nvSpPr>
            <p:cNvPr id="27" name="Rectangle 23">
              <a:extLst>
                <a:ext uri="{FF2B5EF4-FFF2-40B4-BE49-F238E27FC236}">
                  <a16:creationId xmlns:a16="http://schemas.microsoft.com/office/drawing/2014/main" id="{E41BEBF3-5573-9AF2-8AC3-664AF26AC988}"/>
                </a:ext>
              </a:extLst>
            </p:cNvPr>
            <p:cNvSpPr/>
            <p:nvPr/>
          </p:nvSpPr>
          <p:spPr>
            <a:xfrm>
              <a:off x="3682693" y="40521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dvanced Web Engineering</a:t>
              </a:r>
            </a:p>
          </p:txBody>
        </p:sp>
        <p:sp>
          <p:nvSpPr>
            <p:cNvPr id="28" name="Rectangle 24">
              <a:extLst>
                <a:ext uri="{FF2B5EF4-FFF2-40B4-BE49-F238E27FC236}">
                  <a16:creationId xmlns:a16="http://schemas.microsoft.com/office/drawing/2014/main" id="{4D6833E3-0FCB-1493-3D16-E4CBCEB51320}"/>
                </a:ext>
              </a:extLst>
            </p:cNvPr>
            <p:cNvSpPr/>
            <p:nvPr/>
          </p:nvSpPr>
          <p:spPr>
            <a:xfrm>
              <a:off x="3687901" y="-388212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Business Intelligence</a:t>
              </a:r>
            </a:p>
          </p:txBody>
        </p:sp>
        <p:sp>
          <p:nvSpPr>
            <p:cNvPr id="29" name="Rectangle 25">
              <a:extLst>
                <a:ext uri="{FF2B5EF4-FFF2-40B4-BE49-F238E27FC236}">
                  <a16:creationId xmlns:a16="http://schemas.microsoft.com/office/drawing/2014/main" id="{A0CEDFB6-E923-3FDE-0C64-BA8E9D338478}"/>
                </a:ext>
              </a:extLst>
            </p:cNvPr>
            <p:cNvSpPr/>
            <p:nvPr/>
          </p:nvSpPr>
          <p:spPr>
            <a:xfrm>
              <a:off x="8808370" y="1308934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-Business Strategies</a:t>
              </a:r>
            </a:p>
          </p:txBody>
        </p:sp>
        <p:sp>
          <p:nvSpPr>
            <p:cNvPr id="30" name="Rectangle 26">
              <a:extLst>
                <a:ext uri="{FF2B5EF4-FFF2-40B4-BE49-F238E27FC236}">
                  <a16:creationId xmlns:a16="http://schemas.microsoft.com/office/drawing/2014/main" id="{7FE2C931-B4B1-520B-E09C-B05BBDDB8360}"/>
                </a:ext>
              </a:extLst>
            </p:cNvPr>
            <p:cNvSpPr/>
            <p:nvPr/>
          </p:nvSpPr>
          <p:spPr>
            <a:xfrm>
              <a:off x="1927741" y="1687179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-Business</a:t>
              </a:r>
            </a:p>
          </p:txBody>
        </p:sp>
        <p:sp>
          <p:nvSpPr>
            <p:cNvPr id="31" name="Rectangle 27">
              <a:extLst>
                <a:ext uri="{FF2B5EF4-FFF2-40B4-BE49-F238E27FC236}">
                  <a16:creationId xmlns:a16="http://schemas.microsoft.com/office/drawing/2014/main" id="{F2A5FC28-8347-D033-8D28-8DF07401BB48}"/>
                </a:ext>
              </a:extLst>
            </p:cNvPr>
            <p:cNvSpPr/>
            <p:nvPr/>
          </p:nvSpPr>
          <p:spPr>
            <a:xfrm>
              <a:off x="7048709" y="1297195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Mobile &amp; Ubiquitous Business</a:t>
              </a:r>
            </a:p>
          </p:txBody>
        </p:sp>
        <p:sp>
          <p:nvSpPr>
            <p:cNvPr id="32" name="Rectangle 28">
              <a:extLst>
                <a:ext uri="{FF2B5EF4-FFF2-40B4-BE49-F238E27FC236}">
                  <a16:creationId xmlns:a16="http://schemas.microsoft.com/office/drawing/2014/main" id="{86B7CD9A-30CE-C633-C414-0015C7BA82C9}"/>
                </a:ext>
              </a:extLst>
            </p:cNvPr>
            <p:cNvSpPr/>
            <p:nvPr/>
          </p:nvSpPr>
          <p:spPr>
            <a:xfrm>
              <a:off x="7045331" y="2203310"/>
              <a:ext cx="1672046" cy="71181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IT-Management</a:t>
              </a:r>
            </a:p>
          </p:txBody>
        </p:sp>
        <p:sp>
          <p:nvSpPr>
            <p:cNvPr id="33" name="TextBox 2">
              <a:extLst>
                <a:ext uri="{FF2B5EF4-FFF2-40B4-BE49-F238E27FC236}">
                  <a16:creationId xmlns:a16="http://schemas.microsoft.com/office/drawing/2014/main" id="{62D39D73-FD7C-4BE5-EF27-B88E3B405D1F}"/>
                </a:ext>
              </a:extLst>
            </p:cNvPr>
            <p:cNvSpPr txBox="1"/>
            <p:nvPr/>
          </p:nvSpPr>
          <p:spPr>
            <a:xfrm rot="16200000">
              <a:off x="-1017088" y="230653"/>
              <a:ext cx="2090057" cy="36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b="1" dirty="0"/>
                <a:t>Tools</a:t>
              </a:r>
            </a:p>
          </p:txBody>
        </p:sp>
        <p:cxnSp>
          <p:nvCxnSpPr>
            <p:cNvPr id="34" name="Straight Connector 31">
              <a:extLst>
                <a:ext uri="{FF2B5EF4-FFF2-40B4-BE49-F238E27FC236}">
                  <a16:creationId xmlns:a16="http://schemas.microsoft.com/office/drawing/2014/main" id="{946C8405-7C51-7105-D6A3-811B0407EE57}"/>
                </a:ext>
              </a:extLst>
            </p:cNvPr>
            <p:cNvCxnSpPr/>
            <p:nvPr/>
          </p:nvCxnSpPr>
          <p:spPr>
            <a:xfrm>
              <a:off x="6786296" y="-448874"/>
              <a:ext cx="0" cy="7251193"/>
            </a:xfrm>
            <a:prstGeom prst="line">
              <a:avLst/>
            </a:prstGeom>
            <a:ln w="571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9E8AE11-7E04-C004-C4D7-D20BCE224429}"/>
                </a:ext>
              </a:extLst>
            </p:cNvPr>
            <p:cNvSpPr txBox="1"/>
            <p:nvPr/>
          </p:nvSpPr>
          <p:spPr>
            <a:xfrm>
              <a:off x="470825" y="5306406"/>
              <a:ext cx="14483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Optimiz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F4C9152-096F-5909-FFFD-8F4028CF3ED0}"/>
                </a:ext>
              </a:extLst>
            </p:cNvPr>
            <p:cNvSpPr txBox="1"/>
            <p:nvPr/>
          </p:nvSpPr>
          <p:spPr>
            <a:xfrm>
              <a:off x="476323" y="6201530"/>
              <a:ext cx="14483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Data Analytic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0325A2E-1A1C-32E4-CD3C-4C293E8DC662}"/>
                </a:ext>
              </a:extLst>
            </p:cNvPr>
            <p:cNvSpPr txBox="1"/>
            <p:nvPr/>
          </p:nvSpPr>
          <p:spPr>
            <a:xfrm>
              <a:off x="422573" y="1778684"/>
              <a:ext cx="1448321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Digital Busines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9025DF1-7EB6-CEFF-F45A-EA52D5214C6E}"/>
                </a:ext>
              </a:extLst>
            </p:cNvPr>
            <p:cNvSpPr txBox="1"/>
            <p:nvPr/>
          </p:nvSpPr>
          <p:spPr>
            <a:xfrm>
              <a:off x="432144" y="3705708"/>
              <a:ext cx="1448321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Logistic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B3C53A6-9717-9B85-DFF4-17EE377E1A11}"/>
                </a:ext>
              </a:extLst>
            </p:cNvPr>
            <p:cNvSpPr txBox="1"/>
            <p:nvPr/>
          </p:nvSpPr>
          <p:spPr>
            <a:xfrm>
              <a:off x="449177" y="2595838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Enterprise Information System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BD83846-C767-98D5-325C-0081656E91AE}"/>
                </a:ext>
              </a:extLst>
            </p:cNvPr>
            <p:cNvSpPr txBox="1"/>
            <p:nvPr/>
          </p:nvSpPr>
          <p:spPr>
            <a:xfrm>
              <a:off x="477487" y="283814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Programming &amp; System Design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73D7D1B-97C0-F776-1B95-FF5BF1762826}"/>
                </a:ext>
              </a:extLst>
            </p:cNvPr>
            <p:cNvSpPr txBox="1"/>
            <p:nvPr/>
          </p:nvSpPr>
          <p:spPr>
            <a:xfrm>
              <a:off x="470824" y="-390684"/>
              <a:ext cx="1448321" cy="461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/>
                <a:t>Spreadsheet Modelling</a:t>
              </a:r>
            </a:p>
          </p:txBody>
        </p:sp>
        <p:sp>
          <p:nvSpPr>
            <p:cNvPr id="42" name="TextBox 1">
              <a:extLst>
                <a:ext uri="{FF2B5EF4-FFF2-40B4-BE49-F238E27FC236}">
                  <a16:creationId xmlns:a16="http://schemas.microsoft.com/office/drawing/2014/main" id="{413D6115-F9F9-396F-ACDE-87CDC6942077}"/>
                </a:ext>
              </a:extLst>
            </p:cNvPr>
            <p:cNvSpPr txBox="1"/>
            <p:nvPr/>
          </p:nvSpPr>
          <p:spPr>
            <a:xfrm>
              <a:off x="2493244" y="6731341"/>
              <a:ext cx="2386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/>
                <a:t>Bachelor</a:t>
              </a:r>
            </a:p>
          </p:txBody>
        </p:sp>
        <p:sp>
          <p:nvSpPr>
            <p:cNvPr id="43" name="TextBox 29">
              <a:extLst>
                <a:ext uri="{FF2B5EF4-FFF2-40B4-BE49-F238E27FC236}">
                  <a16:creationId xmlns:a16="http://schemas.microsoft.com/office/drawing/2014/main" id="{CA8F26B4-B796-4C40-8296-9050BF86FCF6}"/>
                </a:ext>
              </a:extLst>
            </p:cNvPr>
            <p:cNvSpPr txBox="1"/>
            <p:nvPr/>
          </p:nvSpPr>
          <p:spPr>
            <a:xfrm>
              <a:off x="7389741" y="6799055"/>
              <a:ext cx="2386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/>
                <a:t>Ma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5139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6ADE987-CE02-9212-ACCD-549566DD5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ECC090E-7D16-0187-1496-FC027414B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3 Group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5EFC19-D84F-B776-A3B3-BC9F4849D7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27132A-1A0F-0BC5-7E21-69C929C4D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6630" y="1506167"/>
            <a:ext cx="7818740" cy="4443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3191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AE3C35E-DF9E-4869-A99C-5EA6A8FEDC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8313166" cy="4735511"/>
          </a:xfrm>
        </p:spPr>
        <p:txBody>
          <a:bodyPr/>
          <a:lstStyle/>
          <a:p>
            <a:pPr marL="0" indent="0" algn="just">
              <a:buNone/>
            </a:pPr>
            <a:r>
              <a:rPr lang="de-DE" sz="2000" b="1" dirty="0"/>
              <a:t>Deep Solar</a:t>
            </a:r>
          </a:p>
          <a:p>
            <a:pPr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bjectives</a:t>
            </a: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tect solar PV systems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based on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eal images</a:t>
            </a:r>
            <a:endParaRPr lang="en-US" sz="1400" b="1" dirty="0">
              <a:solidFill>
                <a:srgbClr val="000000"/>
              </a:solidFill>
            </a:endParaRP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ocode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the PV systems and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stimate their size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400" b="0" i="0" dirty="0">
              <a:effectLst/>
              <a:latin typeface="Arial" panose="020B0604020202020204" pitchFamily="34" charset="0"/>
            </a:endParaRPr>
          </a:p>
          <a:p>
            <a:pPr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sults</a:t>
            </a:r>
          </a:p>
          <a:p>
            <a:pPr lvl="1" algn="just"/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rst exhaustive data set 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taining the geolocation of PV systems for large regions of Germany</a:t>
            </a:r>
            <a:endParaRPr lang="en-US" sz="1400" b="1" dirty="0">
              <a:solidFill>
                <a:srgbClr val="000000"/>
              </a:solidFill>
            </a:endParaRPr>
          </a:p>
          <a:p>
            <a:pPr lvl="1" algn="just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e data set serves as the basis for further analyses about the </a:t>
            </a:r>
            <a:r>
              <a:rPr lang="en-US" sz="14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option of PV systems</a:t>
            </a:r>
            <a:endParaRPr lang="en-US" sz="1400" u="none" strike="noStrike" dirty="0">
              <a:solidFill>
                <a:srgbClr val="000000"/>
              </a:solidFill>
            </a:endParaRPr>
          </a:p>
          <a:p>
            <a:pPr lvl="1" algn="just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 a follow-up project we plan to combine the PV data set with 3D city models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400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15CAA8-D92D-C22F-4EE5-B3507C4E68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3987EF8-0A55-EFE0-82B4-264086534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: Deep Learning </a:t>
            </a:r>
            <a:r>
              <a:rPr lang="de-DE" dirty="0" err="1"/>
              <a:t>to</a:t>
            </a:r>
            <a:r>
              <a:rPr lang="de-DE" dirty="0"/>
              <a:t> Segment </a:t>
            </a:r>
            <a:r>
              <a:rPr lang="de-DE" dirty="0" err="1"/>
              <a:t>Photovoltaic</a:t>
            </a:r>
            <a:r>
              <a:rPr lang="de-DE" dirty="0"/>
              <a:t> Array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205598-01A7-C162-2C15-F70205E21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206A8CC-048D-888B-E6A9-018641134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287" y="2047164"/>
            <a:ext cx="1366670" cy="1366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7521F669-9C67-4B9C-9532-52F5ECC69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287" y="3713332"/>
            <a:ext cx="1366670" cy="1366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A1B9745D-F8BC-45D8-DF62-BF70C3FC4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747" y="4269357"/>
            <a:ext cx="6489514" cy="178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tanford University logo and symbol, meaning, history, PNG ...">
            <a:extLst>
              <a:ext uri="{FF2B5EF4-FFF2-40B4-BE49-F238E27FC236}">
                <a16:creationId xmlns:a16="http://schemas.microsoft.com/office/drawing/2014/main" id="{EC90CC13-D00C-5663-A4AE-05A0BCA14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3253" y="5178376"/>
            <a:ext cx="1696632" cy="954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5443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BED687C-FAA3-5533-91D0-D2364A60F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E585B02-6147-7DBD-E939-DBB870F83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: FEEDAIR --- </a:t>
            </a:r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Electricity</a:t>
            </a:r>
            <a:r>
              <a:rPr lang="de-DE" dirty="0"/>
              <a:t> Networks </a:t>
            </a:r>
            <a:r>
              <a:rPr lang="de-DE" dirty="0" err="1"/>
              <a:t>using</a:t>
            </a:r>
            <a:r>
              <a:rPr lang="de-DE" dirty="0"/>
              <a:t> Aerial Images &amp; Deep Learn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ECBEAA-8654-5F23-B39E-E6C99781DB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ata Driven Decisions Group | Chair of Process and IT Integration for Enterprise AI | Prof. Dr. Gunther Gust</a:t>
            </a:r>
          </a:p>
        </p:txBody>
      </p:sp>
      <p:pic>
        <p:nvPicPr>
          <p:cNvPr id="9" name="Grafik 8" descr="Ein Bild, das Screenshot, Text, Design enthält.&#10;&#10;Automatisch generierte Beschreibung">
            <a:extLst>
              <a:ext uri="{FF2B5EF4-FFF2-40B4-BE49-F238E27FC236}">
                <a16:creationId xmlns:a16="http://schemas.microsoft.com/office/drawing/2014/main" id="{0D50ACD2-D14C-F227-5010-692C666787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26" y="1842862"/>
            <a:ext cx="11156125" cy="387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22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SCLIENT" val="True"/>
  <p:tag name="THINKCELLUNDODONOTDELETE" val="0"/>
  <p:tag name="TEMPLATELASTEDITED" val="2022-09-29 01:23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heme/theme1.xml><?xml version="1.0" encoding="utf-8"?>
<a:theme xmlns:a="http://schemas.openxmlformats.org/drawingml/2006/main" name="D3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ata Driven Decisions (D3) Group – PPT Master.potx" id="{4F7075DE-C90C-4103-BFCB-1D0BB0118F3F}" vid="{64B19453-F15C-4A18-978D-2E59CF8B6D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4BBCB2D435874388B85186CCA3AC43" ma:contentTypeVersion="14" ma:contentTypeDescription="Ein neues Dokument erstellen." ma:contentTypeScope="" ma:versionID="e1f98f4b62387f2a4fd8623819950833">
  <xsd:schema xmlns:xsd="http://www.w3.org/2001/XMLSchema" xmlns:xs="http://www.w3.org/2001/XMLSchema" xmlns:p="http://schemas.microsoft.com/office/2006/metadata/properties" xmlns:ns2="e51510dd-eaa1-479e-8fc2-49e23331ae10" xmlns:ns3="3699fda1-094b-4ac7-938f-215046c2fbfd" targetNamespace="http://schemas.microsoft.com/office/2006/metadata/properties" ma:root="true" ma:fieldsID="47a4046418f81ee19dac8e31fccdc172" ns2:_="" ns3:_="">
    <xsd:import namespace="e51510dd-eaa1-479e-8fc2-49e23331ae10"/>
    <xsd:import namespace="3699fda1-094b-4ac7-938f-215046c2fb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510dd-eaa1-479e-8fc2-49e23331ae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38e253e-2608-47e9-b33a-dfa3347cdc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99fda1-094b-4ac7-938f-215046c2fbf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122cae8-9274-4737-a0a3-afe9a5c9c2af}" ma:internalName="TaxCatchAll" ma:showField="CatchAllData" ma:web="3699fda1-094b-4ac7-938f-215046c2fb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699fda1-094b-4ac7-938f-215046c2fbfd" xsi:nil="true"/>
    <lcf76f155ced4ddcb4097134ff3c332f xmlns="e51510dd-eaa1-479e-8fc2-49e23331ae1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D36692-54D6-4DC0-BD69-0459C3DB11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1510dd-eaa1-479e-8fc2-49e23331ae10"/>
    <ds:schemaRef ds:uri="3699fda1-094b-4ac7-938f-215046c2fb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0DC8799-105C-456C-819F-6A677F98F0B2}">
  <ds:schemaRefs>
    <ds:schemaRef ds:uri="http://schemas.microsoft.com/office/2006/metadata/properties"/>
    <ds:schemaRef ds:uri="http://schemas.microsoft.com/office/infopath/2007/PartnerControls"/>
    <ds:schemaRef ds:uri="3699fda1-094b-4ac7-938f-215046c2fbfd"/>
    <ds:schemaRef ds:uri="e51510dd-eaa1-479e-8fc2-49e23331ae10"/>
  </ds:schemaRefs>
</ds:datastoreItem>
</file>

<file path=customXml/itemProps3.xml><?xml version="1.0" encoding="utf-8"?>
<ds:datastoreItem xmlns:ds="http://schemas.openxmlformats.org/officeDocument/2006/customXml" ds:itemID="{7BDB29BD-0314-4270-B995-3803F662B2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ta Driven Decisions (D3) Group – PPT Master (5)</Template>
  <TotalTime>1</TotalTime>
  <Words>751</Words>
  <Application>Microsoft Macintosh PowerPoint</Application>
  <PresentationFormat>Widescreen</PresentationFormat>
  <Paragraphs>123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Roboto</vt:lpstr>
      <vt:lpstr>Symbol</vt:lpstr>
      <vt:lpstr>Wingdings</vt:lpstr>
      <vt:lpstr>D3</vt:lpstr>
      <vt:lpstr>think-cell Slide</vt:lpstr>
      <vt:lpstr>1. Introduction</vt:lpstr>
      <vt:lpstr>This course introduces data science tools, as well as advanced methodologies in an applied manner</vt:lpstr>
      <vt:lpstr>Learning objectives for this course</vt:lpstr>
      <vt:lpstr>Course Schedule</vt:lpstr>
      <vt:lpstr>Why Python?</vt:lpstr>
      <vt:lpstr>The course relates to several other courses of the D3 teaching program</vt:lpstr>
      <vt:lpstr>D3 Group</vt:lpstr>
      <vt:lpstr>Our research: Deep Learning to Segment Photovoltaic Arrays</vt:lpstr>
      <vt:lpstr>Our research: FEEDAIR --- Planning Electricity Networks using Aerial Images &amp; Deep Learning</vt:lpstr>
      <vt:lpstr>Ways to work with us</vt:lpstr>
      <vt:lpstr>Course Organiz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Driven Decisions (D3) Group – PPT Master</dc:title>
  <dc:subject/>
  <dc:creator>Gunther Gust</dc:creator>
  <cp:keywords/>
  <dc:description/>
  <cp:lastModifiedBy>Thê Viêt Nguyên</cp:lastModifiedBy>
  <cp:revision>8</cp:revision>
  <dcterms:created xsi:type="dcterms:W3CDTF">2023-01-15T05:34:03Z</dcterms:created>
  <dcterms:modified xsi:type="dcterms:W3CDTF">2024-10-11T13:4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9-29 01:23 </vt:lpwstr>
  </property>
  <property fmtid="{D5CDD505-2E9C-101B-9397-08002B2CF9AE}" pid="3" name="ContentTypeId">
    <vt:lpwstr>0x010100CE4BBCB2D435874388B85186CCA3AC43</vt:lpwstr>
  </property>
  <property fmtid="{D5CDD505-2E9C-101B-9397-08002B2CF9AE}" pid="4" name="MediaServiceImageTags">
    <vt:lpwstr/>
  </property>
</Properties>
</file>